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8" r:id="rId3"/>
  </p:sldMasterIdLst>
  <p:notesMasterIdLst>
    <p:notesMasterId r:id="rId75"/>
  </p:notesMasterIdLst>
  <p:sldIdLst>
    <p:sldId id="256" r:id="rId4"/>
    <p:sldId id="264" r:id="rId5"/>
    <p:sldId id="257" r:id="rId6"/>
    <p:sldId id="279" r:id="rId7"/>
    <p:sldId id="270" r:id="rId8"/>
    <p:sldId id="271" r:id="rId9"/>
    <p:sldId id="265" r:id="rId10"/>
    <p:sldId id="267" r:id="rId11"/>
    <p:sldId id="273" r:id="rId12"/>
    <p:sldId id="275" r:id="rId13"/>
    <p:sldId id="282" r:id="rId14"/>
    <p:sldId id="283" r:id="rId15"/>
    <p:sldId id="286" r:id="rId16"/>
    <p:sldId id="299" r:id="rId17"/>
    <p:sldId id="302" r:id="rId18"/>
    <p:sldId id="298" r:id="rId19"/>
    <p:sldId id="285" r:id="rId20"/>
    <p:sldId id="287" r:id="rId21"/>
    <p:sldId id="288" r:id="rId22"/>
    <p:sldId id="289" r:id="rId23"/>
    <p:sldId id="292" r:id="rId24"/>
    <p:sldId id="297" r:id="rId25"/>
    <p:sldId id="291" r:id="rId26"/>
    <p:sldId id="290" r:id="rId27"/>
    <p:sldId id="269" r:id="rId28"/>
    <p:sldId id="277" r:id="rId29"/>
    <p:sldId id="966" r:id="rId30"/>
    <p:sldId id="322" r:id="rId31"/>
    <p:sldId id="293" r:id="rId32"/>
    <p:sldId id="307" r:id="rId33"/>
    <p:sldId id="305" r:id="rId34"/>
    <p:sldId id="980" r:id="rId35"/>
    <p:sldId id="328" r:id="rId36"/>
    <p:sldId id="329" r:id="rId37"/>
    <p:sldId id="330" r:id="rId38"/>
    <p:sldId id="331" r:id="rId39"/>
    <p:sldId id="309" r:id="rId40"/>
    <p:sldId id="311" r:id="rId41"/>
    <p:sldId id="310" r:id="rId42"/>
    <p:sldId id="312" r:id="rId43"/>
    <p:sldId id="315" r:id="rId44"/>
    <p:sldId id="316" r:id="rId45"/>
    <p:sldId id="314" r:id="rId46"/>
    <p:sldId id="317" r:id="rId47"/>
    <p:sldId id="313" r:id="rId48"/>
    <p:sldId id="318" r:id="rId49"/>
    <p:sldId id="319" r:id="rId50"/>
    <p:sldId id="308" r:id="rId51"/>
    <p:sldId id="321" r:id="rId52"/>
    <p:sldId id="978" r:id="rId53"/>
    <p:sldId id="975" r:id="rId54"/>
    <p:sldId id="972" r:id="rId55"/>
    <p:sldId id="970" r:id="rId56"/>
    <p:sldId id="974" r:id="rId57"/>
    <p:sldId id="968" r:id="rId58"/>
    <p:sldId id="967" r:id="rId59"/>
    <p:sldId id="977" r:id="rId60"/>
    <p:sldId id="976" r:id="rId61"/>
    <p:sldId id="969" r:id="rId62"/>
    <p:sldId id="971" r:id="rId63"/>
    <p:sldId id="979" r:id="rId64"/>
    <p:sldId id="333" r:id="rId65"/>
    <p:sldId id="332" r:id="rId66"/>
    <p:sldId id="323" r:id="rId67"/>
    <p:sldId id="301" r:id="rId68"/>
    <p:sldId id="300" r:id="rId69"/>
    <p:sldId id="303" r:id="rId70"/>
    <p:sldId id="294" r:id="rId71"/>
    <p:sldId id="295" r:id="rId72"/>
    <p:sldId id="296" r:id="rId73"/>
    <p:sldId id="268" r:id="rId7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  <a:srgbClr val="C00000"/>
    <a:srgbClr val="FB7405"/>
    <a:srgbClr val="55A51C"/>
    <a:srgbClr val="407C15"/>
    <a:srgbClr val="A6AFB7"/>
    <a:srgbClr val="843C0C"/>
    <a:srgbClr val="00B050"/>
    <a:srgbClr val="7030A0"/>
    <a:srgbClr val="038A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71B959C-E0A4-4A04-808B-B680E7C2F5FC}" v="12" dt="2020-04-04T23:13:46.56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62" autoAdjust="0"/>
    <p:restoredTop sz="88277" autoAdjust="0"/>
  </p:normalViewPr>
  <p:slideViewPr>
    <p:cSldViewPr snapToGrid="0">
      <p:cViewPr varScale="1">
        <p:scale>
          <a:sx n="116" d="100"/>
          <a:sy n="116" d="100"/>
        </p:scale>
        <p:origin x="30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99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16" Type="http://schemas.openxmlformats.org/officeDocument/2006/relationships/slide" Target="slides/slide13.xml"/><Relationship Id="rId11" Type="http://schemas.openxmlformats.org/officeDocument/2006/relationships/slide" Target="slides/slide8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74" Type="http://schemas.openxmlformats.org/officeDocument/2006/relationships/slide" Target="slides/slide71.xml"/><Relationship Id="rId79" Type="http://schemas.openxmlformats.org/officeDocument/2006/relationships/tableStyles" Target="tableStyles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80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theme" Target="theme/theme1.xml"/><Relationship Id="rId81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6" Type="http://schemas.openxmlformats.org/officeDocument/2006/relationships/presProps" Target="presProp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4" Type="http://schemas.openxmlformats.org/officeDocument/2006/relationships/slide" Target="slides/slide21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66" Type="http://schemas.openxmlformats.org/officeDocument/2006/relationships/slide" Target="slides/slide6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ey Mullen" userId="615adb39-d18b-4c1c-ae7a-6cece5c624ca" providerId="ADAL" clId="{879D8575-D9EF-467B-924E-C3696263FF09}"/>
    <pc:docChg chg="undo custSel addSld delSld modSld sldOrd">
      <pc:chgData name="Casey Mullen" userId="615adb39-d18b-4c1c-ae7a-6cece5c624ca" providerId="ADAL" clId="{879D8575-D9EF-467B-924E-C3696263FF09}" dt="2020-02-21T15:45:12.223" v="4115" actId="20577"/>
      <pc:docMkLst>
        <pc:docMk/>
      </pc:docMkLst>
      <pc:sldChg chg="modSp">
        <pc:chgData name="Casey Mullen" userId="615adb39-d18b-4c1c-ae7a-6cece5c624ca" providerId="ADAL" clId="{879D8575-D9EF-467B-924E-C3696263FF09}" dt="2020-02-10T14:08:56.561" v="428" actId="113"/>
        <pc:sldMkLst>
          <pc:docMk/>
          <pc:sldMk cId="1121960900" sldId="290"/>
        </pc:sldMkLst>
        <pc:spChg chg="mod">
          <ac:chgData name="Casey Mullen" userId="615adb39-d18b-4c1c-ae7a-6cece5c624ca" providerId="ADAL" clId="{879D8575-D9EF-467B-924E-C3696263FF09}" dt="2020-02-10T14:08:56.561" v="428" actId="113"/>
          <ac:spMkLst>
            <pc:docMk/>
            <pc:sldMk cId="1121960900" sldId="290"/>
            <ac:spMk id="3" creationId="{6094C512-BEE7-4D23-94BB-9CDB83FB5AF8}"/>
          </ac:spMkLst>
        </pc:spChg>
      </pc:sldChg>
      <pc:sldChg chg="modSp">
        <pc:chgData name="Casey Mullen" userId="615adb39-d18b-4c1c-ae7a-6cece5c624ca" providerId="ADAL" clId="{879D8575-D9EF-467B-924E-C3696263FF09}" dt="2020-02-10T14:07:55.482" v="372" actId="5793"/>
        <pc:sldMkLst>
          <pc:docMk/>
          <pc:sldMk cId="1901098764" sldId="291"/>
        </pc:sldMkLst>
        <pc:spChg chg="mod">
          <ac:chgData name="Casey Mullen" userId="615adb39-d18b-4c1c-ae7a-6cece5c624ca" providerId="ADAL" clId="{879D8575-D9EF-467B-924E-C3696263FF09}" dt="2020-02-10T14:07:55.482" v="372" actId="5793"/>
          <ac:spMkLst>
            <pc:docMk/>
            <pc:sldMk cId="1901098764" sldId="291"/>
            <ac:spMk id="3" creationId="{9C61BCA4-4B77-481D-A1B1-F2C4A3614BBC}"/>
          </ac:spMkLst>
        </pc:spChg>
      </pc:sldChg>
      <pc:sldChg chg="addSp modSp">
        <pc:chgData name="Casey Mullen" userId="615adb39-d18b-4c1c-ae7a-6cece5c624ca" providerId="ADAL" clId="{879D8575-D9EF-467B-924E-C3696263FF09}" dt="2020-02-06T14:03:08.413" v="49" actId="20577"/>
        <pc:sldMkLst>
          <pc:docMk/>
          <pc:sldMk cId="3955550230" sldId="321"/>
        </pc:sldMkLst>
        <pc:spChg chg="mod">
          <ac:chgData name="Casey Mullen" userId="615adb39-d18b-4c1c-ae7a-6cece5c624ca" providerId="ADAL" clId="{879D8575-D9EF-467B-924E-C3696263FF09}" dt="2020-02-06T14:03:08.413" v="49" actId="20577"/>
          <ac:spMkLst>
            <pc:docMk/>
            <pc:sldMk cId="3955550230" sldId="321"/>
            <ac:spMk id="13" creationId="{71FA75EC-3EB7-4D1B-A710-4AD719717FF1}"/>
          </ac:spMkLst>
        </pc:spChg>
        <pc:spChg chg="add mod">
          <ac:chgData name="Casey Mullen" userId="615adb39-d18b-4c1c-ae7a-6cece5c624ca" providerId="ADAL" clId="{879D8575-D9EF-467B-924E-C3696263FF09}" dt="2020-01-22T15:48:48.532" v="12" actId="1076"/>
          <ac:spMkLst>
            <pc:docMk/>
            <pc:sldMk cId="3955550230" sldId="321"/>
            <ac:spMk id="71" creationId="{EE185286-6008-48FC-AE08-19176A117885}"/>
          </ac:spMkLst>
        </pc:spChg>
      </pc:sldChg>
      <pc:sldChg chg="add modTransition">
        <pc:chgData name="Casey Mullen" userId="615adb39-d18b-4c1c-ae7a-6cece5c624ca" providerId="ADAL" clId="{879D8575-D9EF-467B-924E-C3696263FF09}" dt="2020-01-22T15:47:24.971" v="1"/>
        <pc:sldMkLst>
          <pc:docMk/>
          <pc:sldMk cId="3614390016" sldId="332"/>
        </pc:sldMkLst>
      </pc:sldChg>
      <pc:sldChg chg="addSp delSp modSp add addAnim delAnim">
        <pc:chgData name="Casey Mullen" userId="615adb39-d18b-4c1c-ae7a-6cece5c624ca" providerId="ADAL" clId="{879D8575-D9EF-467B-924E-C3696263FF09}" dt="2020-02-20T15:43:22.519" v="3144" actId="20577"/>
        <pc:sldMkLst>
          <pc:docMk/>
          <pc:sldMk cId="2816045471" sldId="333"/>
        </pc:sldMkLst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2" creationId="{A5213E80-FC72-43C8-9440-7C084EC83EA6}"/>
          </ac:spMkLst>
        </pc:spChg>
        <pc:spChg chg="mod">
          <ac:chgData name="Casey Mullen" userId="615adb39-d18b-4c1c-ae7a-6cece5c624ca" providerId="ADAL" clId="{879D8575-D9EF-467B-924E-C3696263FF09}" dt="2020-02-20T15:43:22.519" v="3144" actId="20577"/>
          <ac:spMkLst>
            <pc:docMk/>
            <pc:sldMk cId="2816045471" sldId="333"/>
            <ac:spMk id="13" creationId="{71FA75EC-3EB7-4D1B-A710-4AD719717FF1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41" creationId="{F0F7C761-DBFD-4C19-B812-1EFD52BDA1FD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42" creationId="{89B91A79-F17F-4CC6-84C7-74DD35DA06AB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46" creationId="{3803B72D-9359-4AEA-AA16-740DABFD75E0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47" creationId="{087853AB-790D-4BF4-A6B3-37D946FDA213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48" creationId="{0CA37C85-F8A2-44C9-A222-CF75D661BF55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49" creationId="{5232C2BA-7A98-498C-A7FC-AAE1C292CAEC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50" creationId="{661F1C4C-D249-4719-96AF-69D975428010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51" creationId="{32CDD8B2-EEE1-4791-A5AC-BD2F9C397517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53" creationId="{43EB1D56-2A26-49DB-90FC-D88054E39B64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54" creationId="{B41CA356-392E-4107-AF53-69616CA49E3E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55" creationId="{5F28F2A1-D29A-4012-A9F3-997A656FC327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56" creationId="{92BF8CF2-E0EE-4003-A3E7-112DC93D2E2E}"/>
          </ac:spMkLst>
        </pc:spChg>
        <pc:spChg chg="del">
          <ac:chgData name="Casey Mullen" userId="615adb39-d18b-4c1c-ae7a-6cece5c624ca" providerId="ADAL" clId="{879D8575-D9EF-467B-924E-C3696263FF09}" dt="2020-02-10T14:01:30.621" v="220" actId="478"/>
          <ac:spMkLst>
            <pc:docMk/>
            <pc:sldMk cId="2816045471" sldId="333"/>
            <ac:spMk id="57" creationId="{1EB7FD00-3BE5-44A2-B044-EEFDFDFF9B5A}"/>
          </ac:spMkLst>
        </pc:spChg>
        <pc:spChg chg="del">
          <ac:chgData name="Casey Mullen" userId="615adb39-d18b-4c1c-ae7a-6cece5c624ca" providerId="ADAL" clId="{879D8575-D9EF-467B-924E-C3696263FF09}" dt="2020-02-10T14:01:30.621" v="220" actId="478"/>
          <ac:spMkLst>
            <pc:docMk/>
            <pc:sldMk cId="2816045471" sldId="333"/>
            <ac:spMk id="58" creationId="{A26EE902-441C-4019-B1AF-EB0A61448CD2}"/>
          </ac:spMkLst>
        </pc:spChg>
        <pc:spChg chg="del">
          <ac:chgData name="Casey Mullen" userId="615adb39-d18b-4c1c-ae7a-6cece5c624ca" providerId="ADAL" clId="{879D8575-D9EF-467B-924E-C3696263FF09}" dt="2020-02-10T14:01:30.621" v="220" actId="478"/>
          <ac:spMkLst>
            <pc:docMk/>
            <pc:sldMk cId="2816045471" sldId="333"/>
            <ac:spMk id="59" creationId="{4CA37507-E441-4031-9858-B21B94E29EBC}"/>
          </ac:spMkLst>
        </pc:spChg>
        <pc:spChg chg="del mod">
          <ac:chgData name="Casey Mullen" userId="615adb39-d18b-4c1c-ae7a-6cece5c624ca" providerId="ADAL" clId="{879D8575-D9EF-467B-924E-C3696263FF09}" dt="2020-02-10T14:01:30.621" v="220" actId="478"/>
          <ac:spMkLst>
            <pc:docMk/>
            <pc:sldMk cId="2816045471" sldId="333"/>
            <ac:spMk id="60" creationId="{CA62EA8B-CFA0-49F7-ACF4-DFA1956DEDAA}"/>
          </ac:spMkLst>
        </pc:spChg>
        <pc:spChg chg="del mod">
          <ac:chgData name="Casey Mullen" userId="615adb39-d18b-4c1c-ae7a-6cece5c624ca" providerId="ADAL" clId="{879D8575-D9EF-467B-924E-C3696263FF09}" dt="2020-02-10T14:01:30.621" v="220" actId="478"/>
          <ac:spMkLst>
            <pc:docMk/>
            <pc:sldMk cId="2816045471" sldId="333"/>
            <ac:spMk id="61" creationId="{366EE56A-B630-4A75-9228-E907462E8F47}"/>
          </ac:spMkLst>
        </pc:spChg>
        <pc:spChg chg="del mod">
          <ac:chgData name="Casey Mullen" userId="615adb39-d18b-4c1c-ae7a-6cece5c624ca" providerId="ADAL" clId="{879D8575-D9EF-467B-924E-C3696263FF09}" dt="2020-02-10T14:01:30.621" v="220" actId="478"/>
          <ac:spMkLst>
            <pc:docMk/>
            <pc:sldMk cId="2816045471" sldId="333"/>
            <ac:spMk id="62" creationId="{251A06B5-C57D-4FDB-9E27-34DA1196090A}"/>
          </ac:spMkLst>
        </pc:spChg>
        <pc:spChg chg="del mod ord">
          <ac:chgData name="Casey Mullen" userId="615adb39-d18b-4c1c-ae7a-6cece5c624ca" providerId="ADAL" clId="{879D8575-D9EF-467B-924E-C3696263FF09}" dt="2020-02-10T14:01:30.621" v="220" actId="478"/>
          <ac:spMkLst>
            <pc:docMk/>
            <pc:sldMk cId="2816045471" sldId="333"/>
            <ac:spMk id="63" creationId="{7699435E-933F-42C0-90E1-30F273AA60A4}"/>
          </ac:spMkLst>
        </pc:spChg>
        <pc:spChg chg="del">
          <ac:chgData name="Casey Mullen" userId="615adb39-d18b-4c1c-ae7a-6cece5c624ca" providerId="ADAL" clId="{879D8575-D9EF-467B-924E-C3696263FF09}" dt="2020-02-10T14:01:30.621" v="220" actId="478"/>
          <ac:spMkLst>
            <pc:docMk/>
            <pc:sldMk cId="2816045471" sldId="333"/>
            <ac:spMk id="64" creationId="{0569D9E0-4BD8-43A9-B1E3-A9AAF7473D5A}"/>
          </ac:spMkLst>
        </pc:spChg>
        <pc:spChg chg="del mod">
          <ac:chgData name="Casey Mullen" userId="615adb39-d18b-4c1c-ae7a-6cece5c624ca" providerId="ADAL" clId="{879D8575-D9EF-467B-924E-C3696263FF09}" dt="2020-02-10T14:01:30.621" v="220" actId="478"/>
          <ac:spMkLst>
            <pc:docMk/>
            <pc:sldMk cId="2816045471" sldId="333"/>
            <ac:spMk id="65" creationId="{EA670A2C-B024-4218-859D-629AB5CD8B4A}"/>
          </ac:spMkLst>
        </pc:spChg>
        <pc:spChg chg="mod">
          <ac:chgData name="Casey Mullen" userId="615adb39-d18b-4c1c-ae7a-6cece5c624ca" providerId="ADAL" clId="{879D8575-D9EF-467B-924E-C3696263FF09}" dt="2020-02-06T14:07:50.312" v="210" actId="1036"/>
          <ac:spMkLst>
            <pc:docMk/>
            <pc:sldMk cId="2816045471" sldId="333"/>
            <ac:spMk id="66" creationId="{BD7FC7BC-7529-45A1-BA06-6CE401543296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67" creationId="{5BF81A85-C8F2-425D-995E-7F060203D785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68" creationId="{070D0571-CA6C-4285-9978-A495A398B16D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69" creationId="{3FEC18A2-CA51-456E-A213-15E5E0B852F9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70" creationId="{717E7784-986F-45D6-8A75-35330343C58C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71" creationId="{EE185286-6008-48FC-AE08-19176A117885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78" creationId="{A771BE95-B326-4B85-9322-B0D695F075EE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79" creationId="{999642AA-7F15-4186-9A43-647544818BC5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80" creationId="{0942527D-7170-4E5E-9F67-99D155E35EA7}"/>
          </ac:spMkLst>
        </pc:spChg>
        <pc:spChg chg="add del mod">
          <ac:chgData name="Casey Mullen" userId="615adb39-d18b-4c1c-ae7a-6cece5c624ca" providerId="ADAL" clId="{879D8575-D9EF-467B-924E-C3696263FF09}" dt="2020-02-10T14:01:30.621" v="220" actId="478"/>
          <ac:spMkLst>
            <pc:docMk/>
            <pc:sldMk cId="2816045471" sldId="333"/>
            <ac:spMk id="81" creationId="{A4EDA305-33C9-4285-8DAA-5FA4E06A9BD7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82" creationId="{3E9E2C74-32DB-4E53-8B81-2B0FAB95E8C7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83" creationId="{A1DD08E8-A1D4-4D44-B000-8878BE0CAB35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84" creationId="{F79FD306-DB6D-49D4-B442-22A883F67282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85" creationId="{2CC36D0D-DA96-4014-BAE3-207316B4D01F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86" creationId="{579592D6-BDCD-4B28-8571-A61C89EE9266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87" creationId="{205DC94F-BC00-4783-B13C-ED9118D29352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88" creationId="{FC3CFD44-AB8C-4F1D-ADDA-47284B71E284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89" creationId="{31542D83-FE51-4518-861F-35A3CA564C34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90" creationId="{D01CE960-2269-42E4-A4B5-F2EEFF60931C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91" creationId="{73DA25A1-BD92-4449-B4B5-48B938E7427A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92" creationId="{A70B6E1A-ADED-468B-87B1-05E34F853EAB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93" creationId="{0429F295-3E4E-40A4-A8B0-3D89641A17AA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94" creationId="{33CF1E86-E759-40C4-BACB-46D8160981D5}"/>
          </ac:spMkLst>
        </pc:spChg>
        <pc:spChg chg="add">
          <ac:chgData name="Casey Mullen" userId="615adb39-d18b-4c1c-ae7a-6cece5c624ca" providerId="ADAL" clId="{879D8575-D9EF-467B-924E-C3696263FF09}" dt="2020-02-10T14:01:31.681" v="221"/>
          <ac:spMkLst>
            <pc:docMk/>
            <pc:sldMk cId="2816045471" sldId="333"/>
            <ac:spMk id="95" creationId="{E8DDDFA5-1A71-406F-8EE9-F60893486D3E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103" creationId="{35B8DFFD-E25F-4E69-9130-6E1FD9D3B143}"/>
          </ac:spMkLst>
        </pc:spChg>
        <pc:spChg chg="mod">
          <ac:chgData name="Casey Mullen" userId="615adb39-d18b-4c1c-ae7a-6cece5c624ca" providerId="ADAL" clId="{879D8575-D9EF-467B-924E-C3696263FF09}" dt="2020-02-06T14:06:48.054" v="141" actId="1035"/>
          <ac:spMkLst>
            <pc:docMk/>
            <pc:sldMk cId="2816045471" sldId="333"/>
            <ac:spMk id="104" creationId="{94174104-8A27-4ABC-880C-473335BB30E9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133" creationId="{F58CFE6E-0C9D-4E8A-81CB-C4F4BF7649F1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136" creationId="{3B352C25-FC12-436A-940A-B1ECAA45DB9B}"/>
          </ac:spMkLst>
        </pc:spChg>
        <pc:spChg chg="add del">
          <ac:chgData name="Casey Mullen" userId="615adb39-d18b-4c1c-ae7a-6cece5c624ca" providerId="ADAL" clId="{879D8575-D9EF-467B-924E-C3696263FF09}" dt="2020-02-20T15:43:22.081" v="3143" actId="478"/>
          <ac:spMkLst>
            <pc:docMk/>
            <pc:sldMk cId="2816045471" sldId="333"/>
            <ac:spMk id="143" creationId="{078B35B0-6BDD-43F7-B157-68EAD61468DE}"/>
          </ac:spMkLst>
        </pc:spChg>
        <pc:grpChg chg="add del">
          <ac:chgData name="Casey Mullen" userId="615adb39-d18b-4c1c-ae7a-6cece5c624ca" providerId="ADAL" clId="{879D8575-D9EF-467B-924E-C3696263FF09}" dt="2020-02-20T15:43:22.081" v="3143" actId="478"/>
          <ac:grpSpMkLst>
            <pc:docMk/>
            <pc:sldMk cId="2816045471" sldId="333"/>
            <ac:grpSpMk id="8" creationId="{40684432-06D7-406F-A8C9-81176B34BE5F}"/>
          </ac:grpSpMkLst>
        </pc:grpChg>
        <pc:grpChg chg="add del">
          <ac:chgData name="Casey Mullen" userId="615adb39-d18b-4c1c-ae7a-6cece5c624ca" providerId="ADAL" clId="{879D8575-D9EF-467B-924E-C3696263FF09}" dt="2020-02-20T15:43:22.081" v="3143" actId="478"/>
          <ac:grpSpMkLst>
            <pc:docMk/>
            <pc:sldMk cId="2816045471" sldId="333"/>
            <ac:grpSpMk id="9" creationId="{103CB57C-C50B-4A32-8E70-C6B2937F9AEF}"/>
          </ac:grpSpMkLst>
        </pc:grpChg>
        <pc:grpChg chg="add del">
          <ac:chgData name="Casey Mullen" userId="615adb39-d18b-4c1c-ae7a-6cece5c624ca" providerId="ADAL" clId="{879D8575-D9EF-467B-924E-C3696263FF09}" dt="2020-02-20T15:43:22.081" v="3143" actId="478"/>
          <ac:grpSpMkLst>
            <pc:docMk/>
            <pc:sldMk cId="2816045471" sldId="333"/>
            <ac:grpSpMk id="10" creationId="{8E34BE3D-DBFA-4A01-BD96-A8594D08B36E}"/>
          </ac:grpSpMkLst>
        </pc:grpChg>
        <pc:grpChg chg="add del">
          <ac:chgData name="Casey Mullen" userId="615adb39-d18b-4c1c-ae7a-6cece5c624ca" providerId="ADAL" clId="{879D8575-D9EF-467B-924E-C3696263FF09}" dt="2020-02-20T15:43:22.081" v="3143" actId="478"/>
          <ac:grpSpMkLst>
            <pc:docMk/>
            <pc:sldMk cId="2816045471" sldId="333"/>
            <ac:grpSpMk id="43" creationId="{2A5D0295-3E36-466B-B25F-D6BC305BE00D}"/>
          </ac:grpSpMkLst>
        </pc:grpChg>
        <pc:grpChg chg="add del">
          <ac:chgData name="Casey Mullen" userId="615adb39-d18b-4c1c-ae7a-6cece5c624ca" providerId="ADAL" clId="{879D8575-D9EF-467B-924E-C3696263FF09}" dt="2020-02-20T15:43:22.081" v="3143" actId="478"/>
          <ac:grpSpMkLst>
            <pc:docMk/>
            <pc:sldMk cId="2816045471" sldId="333"/>
            <ac:grpSpMk id="72" creationId="{9ACF9438-DDDC-4FED-85A0-A1BABC936137}"/>
          </ac:grpSpMkLst>
        </pc:grpChg>
        <pc:grpChg chg="add del">
          <ac:chgData name="Casey Mullen" userId="615adb39-d18b-4c1c-ae7a-6cece5c624ca" providerId="ADAL" clId="{879D8575-D9EF-467B-924E-C3696263FF09}" dt="2020-02-20T15:43:22.081" v="3143" actId="478"/>
          <ac:grpSpMkLst>
            <pc:docMk/>
            <pc:sldMk cId="2816045471" sldId="333"/>
            <ac:grpSpMk id="74" creationId="{ED173835-D9F2-4F87-B767-107475B02FA5}"/>
          </ac:grpSpMkLst>
        </pc:grpChg>
        <pc:grpChg chg="add del">
          <ac:chgData name="Casey Mullen" userId="615adb39-d18b-4c1c-ae7a-6cece5c624ca" providerId="ADAL" clId="{879D8575-D9EF-467B-924E-C3696263FF09}" dt="2020-02-20T15:43:22.081" v="3143" actId="478"/>
          <ac:grpSpMkLst>
            <pc:docMk/>
            <pc:sldMk cId="2816045471" sldId="333"/>
            <ac:grpSpMk id="100" creationId="{95A94179-5431-4967-9FE9-19939FC84178}"/>
          </ac:grpSpMkLst>
        </pc:grpChg>
        <pc:grpChg chg="add del">
          <ac:chgData name="Casey Mullen" userId="615adb39-d18b-4c1c-ae7a-6cece5c624ca" providerId="ADAL" clId="{879D8575-D9EF-467B-924E-C3696263FF09}" dt="2020-02-20T15:43:22.081" v="3143" actId="478"/>
          <ac:grpSpMkLst>
            <pc:docMk/>
            <pc:sldMk cId="2816045471" sldId="333"/>
            <ac:grpSpMk id="144" creationId="{90E60D90-2F24-448E-B4D1-F64934AEDE0C}"/>
          </ac:grpSpMkLst>
        </pc:grpChg>
      </pc:sldChg>
      <pc:sldChg chg="add del modTransition">
        <pc:chgData name="Casey Mullen" userId="615adb39-d18b-4c1c-ae7a-6cece5c624ca" providerId="ADAL" clId="{879D8575-D9EF-467B-924E-C3696263FF09}" dt="2020-02-06T19:00:01.639" v="213"/>
        <pc:sldMkLst>
          <pc:docMk/>
          <pc:sldMk cId="2081914259" sldId="966"/>
        </pc:sldMkLst>
      </pc:sldChg>
      <pc:sldChg chg="addSp delSp modSp add delAnim modNotesTx">
        <pc:chgData name="Casey Mullen" userId="615adb39-d18b-4c1c-ae7a-6cece5c624ca" providerId="ADAL" clId="{879D8575-D9EF-467B-924E-C3696263FF09}" dt="2020-02-21T15:44:26.830" v="4093" actId="1076"/>
        <pc:sldMkLst>
          <pc:docMk/>
          <pc:sldMk cId="3508257234" sldId="967"/>
        </pc:sldMkLst>
        <pc:spChg chg="del mod">
          <ac:chgData name="Casey Mullen" userId="615adb39-d18b-4c1c-ae7a-6cece5c624ca" providerId="ADAL" clId="{879D8575-D9EF-467B-924E-C3696263FF09}" dt="2020-02-20T14:39:06.217" v="1450" actId="478"/>
          <ac:spMkLst>
            <pc:docMk/>
            <pc:sldMk cId="3508257234" sldId="967"/>
            <ac:spMk id="2" creationId="{A5213E80-FC72-43C8-9440-7C084EC83EA6}"/>
          </ac:spMkLst>
        </pc:spChg>
        <pc:spChg chg="mod">
          <ac:chgData name="Casey Mullen" userId="615adb39-d18b-4c1c-ae7a-6cece5c624ca" providerId="ADAL" clId="{879D8575-D9EF-467B-924E-C3696263FF09}" dt="2020-02-21T15:44:26.830" v="4093" actId="1076"/>
          <ac:spMkLst>
            <pc:docMk/>
            <pc:sldMk cId="3508257234" sldId="967"/>
            <ac:spMk id="13" creationId="{71FA75EC-3EB7-4D1B-A710-4AD719717FF1}"/>
          </ac:spMkLst>
        </pc:spChg>
        <pc:spChg chg="add mod">
          <ac:chgData name="Casey Mullen" userId="615adb39-d18b-4c1c-ae7a-6cece5c624ca" providerId="ADAL" clId="{879D8575-D9EF-467B-924E-C3696263FF09}" dt="2020-02-20T14:41:47.924" v="1592" actId="14100"/>
          <ac:spMkLst>
            <pc:docMk/>
            <pc:sldMk cId="3508257234" sldId="967"/>
            <ac:spMk id="29" creationId="{69136457-88D4-4479-9665-1A67656B66D9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41" creationId="{F0F7C761-DBFD-4C19-B812-1EFD52BDA1FD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42" creationId="{89B91A79-F17F-4CC6-84C7-74DD35DA06AB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46" creationId="{3803B72D-9359-4AEA-AA16-740DABFD75E0}"/>
          </ac:spMkLst>
        </pc:spChg>
        <pc:spChg chg="del mod">
          <ac:chgData name="Casey Mullen" userId="615adb39-d18b-4c1c-ae7a-6cece5c624ca" providerId="ADAL" clId="{879D8575-D9EF-467B-924E-C3696263FF09}" dt="2020-02-20T14:39:06.217" v="1450" actId="478"/>
          <ac:spMkLst>
            <pc:docMk/>
            <pc:sldMk cId="3508257234" sldId="967"/>
            <ac:spMk id="47" creationId="{087853AB-790D-4BF4-A6B3-37D946FDA213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48" creationId="{0CA37C85-F8A2-44C9-A222-CF75D661BF55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49" creationId="{5232C2BA-7A98-498C-A7FC-AAE1C292CAEC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50" creationId="{661F1C4C-D249-4719-96AF-69D975428010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51" creationId="{32CDD8B2-EEE1-4791-A5AC-BD2F9C397517}"/>
          </ac:spMkLst>
        </pc:spChg>
        <pc:spChg chg="del mod">
          <ac:chgData name="Casey Mullen" userId="615adb39-d18b-4c1c-ae7a-6cece5c624ca" providerId="ADAL" clId="{879D8575-D9EF-467B-924E-C3696263FF09}" dt="2020-02-20T14:26:12.113" v="1390" actId="478"/>
          <ac:spMkLst>
            <pc:docMk/>
            <pc:sldMk cId="3508257234" sldId="967"/>
            <ac:spMk id="53" creationId="{43EB1D56-2A26-49DB-90FC-D88054E39B64}"/>
          </ac:spMkLst>
        </pc:spChg>
        <pc:spChg chg="del mod">
          <ac:chgData name="Casey Mullen" userId="615adb39-d18b-4c1c-ae7a-6cece5c624ca" providerId="ADAL" clId="{879D8575-D9EF-467B-924E-C3696263FF09}" dt="2020-02-20T14:26:12.113" v="1390" actId="478"/>
          <ac:spMkLst>
            <pc:docMk/>
            <pc:sldMk cId="3508257234" sldId="967"/>
            <ac:spMk id="54" creationId="{B41CA356-392E-4107-AF53-69616CA49E3E}"/>
          </ac:spMkLst>
        </pc:spChg>
        <pc:spChg chg="del mod">
          <ac:chgData name="Casey Mullen" userId="615adb39-d18b-4c1c-ae7a-6cece5c624ca" providerId="ADAL" clId="{879D8575-D9EF-467B-924E-C3696263FF09}" dt="2020-02-20T14:03:30.394" v="805" actId="478"/>
          <ac:spMkLst>
            <pc:docMk/>
            <pc:sldMk cId="3508257234" sldId="967"/>
            <ac:spMk id="55" creationId="{5F28F2A1-D29A-4012-A9F3-997A656FC327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56" creationId="{92BF8CF2-E0EE-4003-A3E7-112DC93D2E2E}"/>
          </ac:spMkLst>
        </pc:spChg>
        <pc:spChg chg="mod">
          <ac:chgData name="Casey Mullen" userId="615adb39-d18b-4c1c-ae7a-6cece5c624ca" providerId="ADAL" clId="{879D8575-D9EF-467B-924E-C3696263FF09}" dt="2020-02-20T15:36:54.054" v="3036" actId="1038"/>
          <ac:spMkLst>
            <pc:docMk/>
            <pc:sldMk cId="3508257234" sldId="967"/>
            <ac:spMk id="57" creationId="{1EB7FD00-3BE5-44A2-B044-EEFDFDFF9B5A}"/>
          </ac:spMkLst>
        </pc:spChg>
        <pc:spChg chg="mod">
          <ac:chgData name="Casey Mullen" userId="615adb39-d18b-4c1c-ae7a-6cece5c624ca" providerId="ADAL" clId="{879D8575-D9EF-467B-924E-C3696263FF09}" dt="2020-02-20T15:36:54.054" v="3036" actId="1038"/>
          <ac:spMkLst>
            <pc:docMk/>
            <pc:sldMk cId="3508257234" sldId="967"/>
            <ac:spMk id="58" creationId="{A26EE902-441C-4019-B1AF-EB0A61448CD2}"/>
          </ac:spMkLst>
        </pc:spChg>
        <pc:spChg chg="mod">
          <ac:chgData name="Casey Mullen" userId="615adb39-d18b-4c1c-ae7a-6cece5c624ca" providerId="ADAL" clId="{879D8575-D9EF-467B-924E-C3696263FF09}" dt="2020-02-20T15:43:27.925" v="3149" actId="14100"/>
          <ac:spMkLst>
            <pc:docMk/>
            <pc:sldMk cId="3508257234" sldId="967"/>
            <ac:spMk id="59" creationId="{4CA37507-E441-4031-9858-B21B94E29EBC}"/>
          </ac:spMkLst>
        </pc:spChg>
        <pc:spChg chg="mod">
          <ac:chgData name="Casey Mullen" userId="615adb39-d18b-4c1c-ae7a-6cece5c624ca" providerId="ADAL" clId="{879D8575-D9EF-467B-924E-C3696263FF09}" dt="2020-02-20T15:36:54.054" v="3036" actId="1038"/>
          <ac:spMkLst>
            <pc:docMk/>
            <pc:sldMk cId="3508257234" sldId="967"/>
            <ac:spMk id="60" creationId="{CA62EA8B-CFA0-49F7-ACF4-DFA1956DEDAA}"/>
          </ac:spMkLst>
        </pc:spChg>
        <pc:spChg chg="mod">
          <ac:chgData name="Casey Mullen" userId="615adb39-d18b-4c1c-ae7a-6cece5c624ca" providerId="ADAL" clId="{879D8575-D9EF-467B-924E-C3696263FF09}" dt="2020-02-20T15:36:54.054" v="3036" actId="1038"/>
          <ac:spMkLst>
            <pc:docMk/>
            <pc:sldMk cId="3508257234" sldId="967"/>
            <ac:spMk id="61" creationId="{366EE56A-B630-4A75-9228-E907462E8F47}"/>
          </ac:spMkLst>
        </pc:spChg>
        <pc:spChg chg="mod">
          <ac:chgData name="Casey Mullen" userId="615adb39-d18b-4c1c-ae7a-6cece5c624ca" providerId="ADAL" clId="{879D8575-D9EF-467B-924E-C3696263FF09}" dt="2020-02-20T15:36:54.054" v="3036" actId="1038"/>
          <ac:spMkLst>
            <pc:docMk/>
            <pc:sldMk cId="3508257234" sldId="967"/>
            <ac:spMk id="62" creationId="{251A06B5-C57D-4FDB-9E27-34DA1196090A}"/>
          </ac:spMkLst>
        </pc:spChg>
        <pc:spChg chg="mod">
          <ac:chgData name="Casey Mullen" userId="615adb39-d18b-4c1c-ae7a-6cece5c624ca" providerId="ADAL" clId="{879D8575-D9EF-467B-924E-C3696263FF09}" dt="2020-02-20T15:43:29.345" v="3150" actId="1076"/>
          <ac:spMkLst>
            <pc:docMk/>
            <pc:sldMk cId="3508257234" sldId="967"/>
            <ac:spMk id="63" creationId="{7699435E-933F-42C0-90E1-30F273AA60A4}"/>
          </ac:spMkLst>
        </pc:spChg>
        <pc:spChg chg="mod">
          <ac:chgData name="Casey Mullen" userId="615adb39-d18b-4c1c-ae7a-6cece5c624ca" providerId="ADAL" clId="{879D8575-D9EF-467B-924E-C3696263FF09}" dt="2020-02-20T15:36:54.054" v="3036" actId="1038"/>
          <ac:spMkLst>
            <pc:docMk/>
            <pc:sldMk cId="3508257234" sldId="967"/>
            <ac:spMk id="64" creationId="{0569D9E0-4BD8-43A9-B1E3-A9AAF7473D5A}"/>
          </ac:spMkLst>
        </pc:spChg>
        <pc:spChg chg="mod">
          <ac:chgData name="Casey Mullen" userId="615adb39-d18b-4c1c-ae7a-6cece5c624ca" providerId="ADAL" clId="{879D8575-D9EF-467B-924E-C3696263FF09}" dt="2020-02-20T15:36:54.054" v="3036" actId="1038"/>
          <ac:spMkLst>
            <pc:docMk/>
            <pc:sldMk cId="3508257234" sldId="967"/>
            <ac:spMk id="65" creationId="{EA670A2C-B024-4218-859D-629AB5CD8B4A}"/>
          </ac:spMkLst>
        </pc:spChg>
        <pc:spChg chg="mod">
          <ac:chgData name="Casey Mullen" userId="615adb39-d18b-4c1c-ae7a-6cece5c624ca" providerId="ADAL" clId="{879D8575-D9EF-467B-924E-C3696263FF09}" dt="2020-02-20T15:36:54.054" v="3036" actId="1038"/>
          <ac:spMkLst>
            <pc:docMk/>
            <pc:sldMk cId="3508257234" sldId="967"/>
            <ac:spMk id="66" creationId="{BD7FC7BC-7529-45A1-BA06-6CE401543296}"/>
          </ac:spMkLst>
        </pc:spChg>
        <pc:spChg chg="del mod">
          <ac:chgData name="Casey Mullen" userId="615adb39-d18b-4c1c-ae7a-6cece5c624ca" providerId="ADAL" clId="{879D8575-D9EF-467B-924E-C3696263FF09}" dt="2020-02-20T14:01:18.902" v="726" actId="478"/>
          <ac:spMkLst>
            <pc:docMk/>
            <pc:sldMk cId="3508257234" sldId="967"/>
            <ac:spMk id="67" creationId="{5BF81A85-C8F2-425D-995E-7F060203D785}"/>
          </ac:spMkLst>
        </pc:spChg>
        <pc:spChg chg="del mod">
          <ac:chgData name="Casey Mullen" userId="615adb39-d18b-4c1c-ae7a-6cece5c624ca" providerId="ADAL" clId="{879D8575-D9EF-467B-924E-C3696263FF09}" dt="2020-02-20T14:39:06.217" v="1450" actId="478"/>
          <ac:spMkLst>
            <pc:docMk/>
            <pc:sldMk cId="3508257234" sldId="967"/>
            <ac:spMk id="68" creationId="{070D0571-CA6C-4285-9978-A495A398B16D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69" creationId="{3FEC18A2-CA51-456E-A213-15E5E0B852F9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70" creationId="{717E7784-986F-45D6-8A75-35330343C58C}"/>
          </ac:spMkLst>
        </pc:spChg>
        <pc:spChg chg="mod">
          <ac:chgData name="Casey Mullen" userId="615adb39-d18b-4c1c-ae7a-6cece5c624ca" providerId="ADAL" clId="{879D8575-D9EF-467B-924E-C3696263FF09}" dt="2020-02-20T15:03:44.628" v="2163" actId="108"/>
          <ac:spMkLst>
            <pc:docMk/>
            <pc:sldMk cId="3508257234" sldId="967"/>
            <ac:spMk id="71" creationId="{EE185286-6008-48FC-AE08-19176A117885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78" creationId="{A771BE95-B326-4B85-9322-B0D695F075EE}"/>
          </ac:spMkLst>
        </pc:spChg>
        <pc:spChg chg="del">
          <ac:chgData name="Casey Mullen" userId="615adb39-d18b-4c1c-ae7a-6cece5c624ca" providerId="ADAL" clId="{879D8575-D9EF-467B-924E-C3696263FF09}" dt="2020-02-20T14:00:14.764" v="721" actId="478"/>
          <ac:spMkLst>
            <pc:docMk/>
            <pc:sldMk cId="3508257234" sldId="967"/>
            <ac:spMk id="79" creationId="{999642AA-7F15-4186-9A43-647544818BC5}"/>
          </ac:spMkLst>
        </pc:spChg>
        <pc:spChg chg="mod">
          <ac:chgData name="Casey Mullen" userId="615adb39-d18b-4c1c-ae7a-6cece5c624ca" providerId="ADAL" clId="{879D8575-D9EF-467B-924E-C3696263FF09}" dt="2020-02-20T14:52:33.619" v="2057" actId="1037"/>
          <ac:spMkLst>
            <pc:docMk/>
            <pc:sldMk cId="3508257234" sldId="967"/>
            <ac:spMk id="80" creationId="{0942527D-7170-4E5E-9F67-99D155E35EA7}"/>
          </ac:spMkLst>
        </pc:spChg>
        <pc:spChg chg="add del mod ord">
          <ac:chgData name="Casey Mullen" userId="615adb39-d18b-4c1c-ae7a-6cece5c624ca" providerId="ADAL" clId="{879D8575-D9EF-467B-924E-C3696263FF09}" dt="2020-02-20T14:26:07.655" v="1389" actId="478"/>
          <ac:spMkLst>
            <pc:docMk/>
            <pc:sldMk cId="3508257234" sldId="967"/>
            <ac:spMk id="81" creationId="{0827E9DE-0CA2-42E0-BD71-57AD62E30483}"/>
          </ac:spMkLst>
        </pc:spChg>
        <pc:spChg chg="add mod">
          <ac:chgData name="Casey Mullen" userId="615adb39-d18b-4c1c-ae7a-6cece5c624ca" providerId="ADAL" clId="{879D8575-D9EF-467B-924E-C3696263FF09}" dt="2020-02-20T14:40:07.617" v="1481" actId="1037"/>
          <ac:spMkLst>
            <pc:docMk/>
            <pc:sldMk cId="3508257234" sldId="967"/>
            <ac:spMk id="82" creationId="{1C05BB69-D5C2-4BAF-96A8-52F2FD5B2516}"/>
          </ac:spMkLst>
        </pc:spChg>
        <pc:spChg chg="add del mod">
          <ac:chgData name="Casey Mullen" userId="615adb39-d18b-4c1c-ae7a-6cece5c624ca" providerId="ADAL" clId="{879D8575-D9EF-467B-924E-C3696263FF09}" dt="2020-02-20T14:26:12.113" v="1390" actId="478"/>
          <ac:spMkLst>
            <pc:docMk/>
            <pc:sldMk cId="3508257234" sldId="967"/>
            <ac:spMk id="83" creationId="{629EF452-9F2F-4F27-B8B3-3EAFFEAE6825}"/>
          </ac:spMkLst>
        </pc:spChg>
        <pc:spChg chg="mod">
          <ac:chgData name="Casey Mullen" userId="615adb39-d18b-4c1c-ae7a-6cece5c624ca" providerId="ADAL" clId="{879D8575-D9EF-467B-924E-C3696263FF09}" dt="2020-02-20T14:40:07.617" v="1481" actId="1037"/>
          <ac:spMkLst>
            <pc:docMk/>
            <pc:sldMk cId="3508257234" sldId="967"/>
            <ac:spMk id="84" creationId="{F79FD306-DB6D-49D4-B442-22A883F67282}"/>
          </ac:spMkLst>
        </pc:spChg>
        <pc:spChg chg="del mod">
          <ac:chgData name="Casey Mullen" userId="615adb39-d18b-4c1c-ae7a-6cece5c624ca" providerId="ADAL" clId="{879D8575-D9EF-467B-924E-C3696263FF09}" dt="2020-02-20T14:01:18.902" v="726" actId="478"/>
          <ac:spMkLst>
            <pc:docMk/>
            <pc:sldMk cId="3508257234" sldId="967"/>
            <ac:spMk id="85" creationId="{2CC36D0D-DA96-4014-BAE3-207316B4D01F}"/>
          </ac:spMkLst>
        </pc:spChg>
        <pc:spChg chg="add mod">
          <ac:chgData name="Casey Mullen" userId="615adb39-d18b-4c1c-ae7a-6cece5c624ca" providerId="ADAL" clId="{879D8575-D9EF-467B-924E-C3696263FF09}" dt="2020-02-20T14:40:07.617" v="1481" actId="1037"/>
          <ac:spMkLst>
            <pc:docMk/>
            <pc:sldMk cId="3508257234" sldId="967"/>
            <ac:spMk id="86" creationId="{D60DC790-F3BA-4BE0-B665-8572B61C5069}"/>
          </ac:spMkLst>
        </pc:spChg>
        <pc:spChg chg="add mod">
          <ac:chgData name="Casey Mullen" userId="615adb39-d18b-4c1c-ae7a-6cece5c624ca" providerId="ADAL" clId="{879D8575-D9EF-467B-924E-C3696263FF09}" dt="2020-02-20T14:40:07.617" v="1481" actId="1037"/>
          <ac:spMkLst>
            <pc:docMk/>
            <pc:sldMk cId="3508257234" sldId="967"/>
            <ac:spMk id="87" creationId="{E0A8E1B0-B67B-4FDD-9900-C8A9609ED2A3}"/>
          </ac:spMkLst>
        </pc:spChg>
        <pc:spChg chg="add mod">
          <ac:chgData name="Casey Mullen" userId="615adb39-d18b-4c1c-ae7a-6cece5c624ca" providerId="ADAL" clId="{879D8575-D9EF-467B-924E-C3696263FF09}" dt="2020-02-20T14:40:07.617" v="1481" actId="1037"/>
          <ac:spMkLst>
            <pc:docMk/>
            <pc:sldMk cId="3508257234" sldId="967"/>
            <ac:spMk id="88" creationId="{A7C05B9F-946E-4C49-9C31-DEC90A5C61B3}"/>
          </ac:spMkLst>
        </pc:spChg>
        <pc:spChg chg="add mod">
          <ac:chgData name="Casey Mullen" userId="615adb39-d18b-4c1c-ae7a-6cece5c624ca" providerId="ADAL" clId="{879D8575-D9EF-467B-924E-C3696263FF09}" dt="2020-02-20T14:41:36.546" v="1590" actId="1076"/>
          <ac:spMkLst>
            <pc:docMk/>
            <pc:sldMk cId="3508257234" sldId="967"/>
            <ac:spMk id="93" creationId="{FBFE18D4-A732-42A9-8AEF-7B3C47619EE9}"/>
          </ac:spMkLst>
        </pc:spChg>
        <pc:spChg chg="add mod">
          <ac:chgData name="Casey Mullen" userId="615adb39-d18b-4c1c-ae7a-6cece5c624ca" providerId="ADAL" clId="{879D8575-D9EF-467B-924E-C3696263FF09}" dt="2020-02-20T14:39:41.061" v="1461" actId="1038"/>
          <ac:spMkLst>
            <pc:docMk/>
            <pc:sldMk cId="3508257234" sldId="967"/>
            <ac:spMk id="97" creationId="{790B580A-3158-4759-8605-92C81F04DFD5}"/>
          </ac:spMkLst>
        </pc:spChg>
        <pc:spChg chg="add mod">
          <ac:chgData name="Casey Mullen" userId="615adb39-d18b-4c1c-ae7a-6cece5c624ca" providerId="ADAL" clId="{879D8575-D9EF-467B-924E-C3696263FF09}" dt="2020-02-20T14:52:40.946" v="2069" actId="1037"/>
          <ac:spMkLst>
            <pc:docMk/>
            <pc:sldMk cId="3508257234" sldId="967"/>
            <ac:spMk id="99" creationId="{56A3E5B2-09A5-48DC-9B01-3B50106640C0}"/>
          </ac:spMkLst>
        </pc:spChg>
        <pc:spChg chg="del mod">
          <ac:chgData name="Casey Mullen" userId="615adb39-d18b-4c1c-ae7a-6cece5c624ca" providerId="ADAL" clId="{879D8575-D9EF-467B-924E-C3696263FF09}" dt="2020-02-20T14:39:06.217" v="1450" actId="478"/>
          <ac:spMkLst>
            <pc:docMk/>
            <pc:sldMk cId="3508257234" sldId="967"/>
            <ac:spMk id="103" creationId="{35B8DFFD-E25F-4E69-9130-6E1FD9D3B143}"/>
          </ac:spMkLst>
        </pc:spChg>
        <pc:spChg chg="mod">
          <ac:chgData name="Casey Mullen" userId="615adb39-d18b-4c1c-ae7a-6cece5c624ca" providerId="ADAL" clId="{879D8575-D9EF-467B-924E-C3696263FF09}" dt="2020-02-20T15:36:54.054" v="3036" actId="1038"/>
          <ac:spMkLst>
            <pc:docMk/>
            <pc:sldMk cId="3508257234" sldId="967"/>
            <ac:spMk id="104" creationId="{94174104-8A27-4ABC-880C-473335BB30E9}"/>
          </ac:spMkLst>
        </pc:spChg>
        <pc:spChg chg="add mod">
          <ac:chgData name="Casey Mullen" userId="615adb39-d18b-4c1c-ae7a-6cece5c624ca" providerId="ADAL" clId="{879D8575-D9EF-467B-924E-C3696263FF09}" dt="2020-02-20T14:52:40.946" v="2069" actId="1037"/>
          <ac:spMkLst>
            <pc:docMk/>
            <pc:sldMk cId="3508257234" sldId="967"/>
            <ac:spMk id="105" creationId="{AC2E5393-A13A-47D2-AC65-89BE34EB35B3}"/>
          </ac:spMkLst>
        </pc:spChg>
        <pc:spChg chg="add mod">
          <ac:chgData name="Casey Mullen" userId="615adb39-d18b-4c1c-ae7a-6cece5c624ca" providerId="ADAL" clId="{879D8575-D9EF-467B-924E-C3696263FF09}" dt="2020-02-20T14:52:40.946" v="2069" actId="1037"/>
          <ac:spMkLst>
            <pc:docMk/>
            <pc:sldMk cId="3508257234" sldId="967"/>
            <ac:spMk id="106" creationId="{70A518BC-4A84-470C-8EC9-6D2A6D03F87A}"/>
          </ac:spMkLst>
        </pc:spChg>
        <pc:spChg chg="add mod">
          <ac:chgData name="Casey Mullen" userId="615adb39-d18b-4c1c-ae7a-6cece5c624ca" providerId="ADAL" clId="{879D8575-D9EF-467B-924E-C3696263FF09}" dt="2020-02-20T14:52:40.946" v="2069" actId="1037"/>
          <ac:spMkLst>
            <pc:docMk/>
            <pc:sldMk cId="3508257234" sldId="967"/>
            <ac:spMk id="107" creationId="{33C66562-58B4-4650-812A-875A35B1B7C7}"/>
          </ac:spMkLst>
        </pc:spChg>
        <pc:spChg chg="add mod">
          <ac:chgData name="Casey Mullen" userId="615adb39-d18b-4c1c-ae7a-6cece5c624ca" providerId="ADAL" clId="{879D8575-D9EF-467B-924E-C3696263FF09}" dt="2020-02-20T14:52:40.946" v="2069" actId="1037"/>
          <ac:spMkLst>
            <pc:docMk/>
            <pc:sldMk cId="3508257234" sldId="967"/>
            <ac:spMk id="108" creationId="{7407B134-61E1-46C7-B6E3-C05EE027EE68}"/>
          </ac:spMkLst>
        </pc:spChg>
        <pc:spChg chg="del mod">
          <ac:chgData name="Casey Mullen" userId="615adb39-d18b-4c1c-ae7a-6cece5c624ca" providerId="ADAL" clId="{879D8575-D9EF-467B-924E-C3696263FF09}" dt="2020-02-20T14:39:06.217" v="1450" actId="478"/>
          <ac:spMkLst>
            <pc:docMk/>
            <pc:sldMk cId="3508257234" sldId="967"/>
            <ac:spMk id="133" creationId="{F58CFE6E-0C9D-4E8A-81CB-C4F4BF7649F1}"/>
          </ac:spMkLst>
        </pc:spChg>
        <pc:spChg chg="del mod">
          <ac:chgData name="Casey Mullen" userId="615adb39-d18b-4c1c-ae7a-6cece5c624ca" providerId="ADAL" clId="{879D8575-D9EF-467B-924E-C3696263FF09}" dt="2020-02-20T14:39:06.217" v="1450" actId="478"/>
          <ac:spMkLst>
            <pc:docMk/>
            <pc:sldMk cId="3508257234" sldId="967"/>
            <ac:spMk id="136" creationId="{3B352C25-FC12-436A-940A-B1ECAA45DB9B}"/>
          </ac:spMkLst>
        </pc:spChg>
        <pc:spChg chg="del mod">
          <ac:chgData name="Casey Mullen" userId="615adb39-d18b-4c1c-ae7a-6cece5c624ca" providerId="ADAL" clId="{879D8575-D9EF-467B-924E-C3696263FF09}" dt="2020-02-20T14:39:06.217" v="1450" actId="478"/>
          <ac:spMkLst>
            <pc:docMk/>
            <pc:sldMk cId="3508257234" sldId="967"/>
            <ac:spMk id="143" creationId="{078B35B0-6BDD-43F7-B157-68EAD61468DE}"/>
          </ac:spMkLst>
        </pc:spChg>
        <pc:grpChg chg="del mod">
          <ac:chgData name="Casey Mullen" userId="615adb39-d18b-4c1c-ae7a-6cece5c624ca" providerId="ADAL" clId="{879D8575-D9EF-467B-924E-C3696263FF09}" dt="2020-02-20T14:39:06.217" v="1450" actId="478"/>
          <ac:grpSpMkLst>
            <pc:docMk/>
            <pc:sldMk cId="3508257234" sldId="967"/>
            <ac:grpSpMk id="8" creationId="{40684432-06D7-406F-A8C9-81176B34BE5F}"/>
          </ac:grpSpMkLst>
        </pc:grpChg>
        <pc:grpChg chg="del mod">
          <ac:chgData name="Casey Mullen" userId="615adb39-d18b-4c1c-ae7a-6cece5c624ca" providerId="ADAL" clId="{879D8575-D9EF-467B-924E-C3696263FF09}" dt="2020-02-20T14:39:06.217" v="1450" actId="478"/>
          <ac:grpSpMkLst>
            <pc:docMk/>
            <pc:sldMk cId="3508257234" sldId="967"/>
            <ac:grpSpMk id="9" creationId="{103CB57C-C50B-4A32-8E70-C6B2937F9AEF}"/>
          </ac:grpSpMkLst>
        </pc:grpChg>
        <pc:grpChg chg="del mod">
          <ac:chgData name="Casey Mullen" userId="615adb39-d18b-4c1c-ae7a-6cece5c624ca" providerId="ADAL" clId="{879D8575-D9EF-467B-924E-C3696263FF09}" dt="2020-02-20T14:39:06.217" v="1450" actId="478"/>
          <ac:grpSpMkLst>
            <pc:docMk/>
            <pc:sldMk cId="3508257234" sldId="967"/>
            <ac:grpSpMk id="10" creationId="{8E34BE3D-DBFA-4A01-BD96-A8594D08B36E}"/>
          </ac:grpSpMkLst>
        </pc:grpChg>
        <pc:grpChg chg="del mod">
          <ac:chgData name="Casey Mullen" userId="615adb39-d18b-4c1c-ae7a-6cece5c624ca" providerId="ADAL" clId="{879D8575-D9EF-467B-924E-C3696263FF09}" dt="2020-02-20T14:39:06.217" v="1450" actId="478"/>
          <ac:grpSpMkLst>
            <pc:docMk/>
            <pc:sldMk cId="3508257234" sldId="967"/>
            <ac:grpSpMk id="43" creationId="{2A5D0295-3E36-466B-B25F-D6BC305BE00D}"/>
          </ac:grpSpMkLst>
        </pc:grpChg>
        <pc:grpChg chg="del mod">
          <ac:chgData name="Casey Mullen" userId="615adb39-d18b-4c1c-ae7a-6cece5c624ca" providerId="ADAL" clId="{879D8575-D9EF-467B-924E-C3696263FF09}" dt="2020-02-20T14:39:06.217" v="1450" actId="478"/>
          <ac:grpSpMkLst>
            <pc:docMk/>
            <pc:sldMk cId="3508257234" sldId="967"/>
            <ac:grpSpMk id="72" creationId="{9ACF9438-DDDC-4FED-85A0-A1BABC936137}"/>
          </ac:grpSpMkLst>
        </pc:grpChg>
        <pc:grpChg chg="del mod">
          <ac:chgData name="Casey Mullen" userId="615adb39-d18b-4c1c-ae7a-6cece5c624ca" providerId="ADAL" clId="{879D8575-D9EF-467B-924E-C3696263FF09}" dt="2020-02-20T14:39:06.217" v="1450" actId="478"/>
          <ac:grpSpMkLst>
            <pc:docMk/>
            <pc:sldMk cId="3508257234" sldId="967"/>
            <ac:grpSpMk id="74" creationId="{ED173835-D9F2-4F87-B767-107475B02FA5}"/>
          </ac:grpSpMkLst>
        </pc:grpChg>
        <pc:grpChg chg="del mod">
          <ac:chgData name="Casey Mullen" userId="615adb39-d18b-4c1c-ae7a-6cece5c624ca" providerId="ADAL" clId="{879D8575-D9EF-467B-924E-C3696263FF09}" dt="2020-02-20T14:39:06.217" v="1450" actId="478"/>
          <ac:grpSpMkLst>
            <pc:docMk/>
            <pc:sldMk cId="3508257234" sldId="967"/>
            <ac:grpSpMk id="100" creationId="{95A94179-5431-4967-9FE9-19939FC84178}"/>
          </ac:grpSpMkLst>
        </pc:grpChg>
        <pc:grpChg chg="del mod">
          <ac:chgData name="Casey Mullen" userId="615adb39-d18b-4c1c-ae7a-6cece5c624ca" providerId="ADAL" clId="{879D8575-D9EF-467B-924E-C3696263FF09}" dt="2020-02-20T14:39:06.217" v="1450" actId="478"/>
          <ac:grpSpMkLst>
            <pc:docMk/>
            <pc:sldMk cId="3508257234" sldId="967"/>
            <ac:grpSpMk id="144" creationId="{90E60D90-2F24-448E-B4D1-F64934AEDE0C}"/>
          </ac:grpSpMkLst>
        </pc:grpChg>
        <pc:picChg chg="add mod">
          <ac:chgData name="Casey Mullen" userId="615adb39-d18b-4c1c-ae7a-6cece5c624ca" providerId="ADAL" clId="{879D8575-D9EF-467B-924E-C3696263FF09}" dt="2020-02-20T14:41:02.423" v="1586" actId="1036"/>
          <ac:picMkLst>
            <pc:docMk/>
            <pc:sldMk cId="3508257234" sldId="967"/>
            <ac:picMk id="3" creationId="{F40158EF-946A-4E3E-91AA-80A6105D1A56}"/>
          </ac:picMkLst>
        </pc:picChg>
        <pc:cxnChg chg="add mod">
          <ac:chgData name="Casey Mullen" userId="615adb39-d18b-4c1c-ae7a-6cece5c624ca" providerId="ADAL" clId="{879D8575-D9EF-467B-924E-C3696263FF09}" dt="2020-02-20T14:40:07.617" v="1481" actId="1037"/>
          <ac:cxnSpMkLst>
            <pc:docMk/>
            <pc:sldMk cId="3508257234" sldId="967"/>
            <ac:cxnSpMk id="5" creationId="{D755FB11-A8FA-4356-AEC4-8B46A2DE94BC}"/>
          </ac:cxnSpMkLst>
        </pc:cxnChg>
        <pc:cxnChg chg="add mod">
          <ac:chgData name="Casey Mullen" userId="615adb39-d18b-4c1c-ae7a-6cece5c624ca" providerId="ADAL" clId="{879D8575-D9EF-467B-924E-C3696263FF09}" dt="2020-02-20T14:40:07.617" v="1481" actId="1037"/>
          <ac:cxnSpMkLst>
            <pc:docMk/>
            <pc:sldMk cId="3508257234" sldId="967"/>
            <ac:cxnSpMk id="89" creationId="{F9AC6268-38A4-407B-AE88-361FB97C250D}"/>
          </ac:cxnSpMkLst>
        </pc:cxnChg>
        <pc:cxnChg chg="add mod">
          <ac:chgData name="Casey Mullen" userId="615adb39-d18b-4c1c-ae7a-6cece5c624ca" providerId="ADAL" clId="{879D8575-D9EF-467B-924E-C3696263FF09}" dt="2020-02-20T14:40:07.617" v="1481" actId="1037"/>
          <ac:cxnSpMkLst>
            <pc:docMk/>
            <pc:sldMk cId="3508257234" sldId="967"/>
            <ac:cxnSpMk id="90" creationId="{9258CDC2-3A26-44F5-A9F1-BDFD037757D6}"/>
          </ac:cxnSpMkLst>
        </pc:cxnChg>
        <pc:cxnChg chg="add mod">
          <ac:chgData name="Casey Mullen" userId="615adb39-d18b-4c1c-ae7a-6cece5c624ca" providerId="ADAL" clId="{879D8575-D9EF-467B-924E-C3696263FF09}" dt="2020-02-20T14:41:02.423" v="1586" actId="1036"/>
          <ac:cxnSpMkLst>
            <pc:docMk/>
            <pc:sldMk cId="3508257234" sldId="967"/>
            <ac:cxnSpMk id="94" creationId="{5BD2136F-FE09-44E6-A8B1-D6B626BC6F47}"/>
          </ac:cxnSpMkLst>
        </pc:cxnChg>
      </pc:sldChg>
      <pc:sldChg chg="addSp delSp modSp add">
        <pc:chgData name="Casey Mullen" userId="615adb39-d18b-4c1c-ae7a-6cece5c624ca" providerId="ADAL" clId="{879D8575-D9EF-467B-924E-C3696263FF09}" dt="2020-02-20T19:52:16.576" v="3306" actId="1035"/>
        <pc:sldMkLst>
          <pc:docMk/>
          <pc:sldMk cId="3879515304" sldId="968"/>
        </pc:sldMkLst>
        <pc:spChg chg="del">
          <ac:chgData name="Casey Mullen" userId="615adb39-d18b-4c1c-ae7a-6cece5c624ca" providerId="ADAL" clId="{879D8575-D9EF-467B-924E-C3696263FF09}" dt="2020-02-20T14:27:09.056" v="1414"/>
          <ac:spMkLst>
            <pc:docMk/>
            <pc:sldMk cId="3879515304" sldId="968"/>
            <ac:spMk id="2" creationId="{A70FAEA9-1B31-4F4B-B20E-6FBB67EAA1BD}"/>
          </ac:spMkLst>
        </pc:spChg>
        <pc:spChg chg="del">
          <ac:chgData name="Casey Mullen" userId="615adb39-d18b-4c1c-ae7a-6cece5c624ca" providerId="ADAL" clId="{879D8575-D9EF-467B-924E-C3696263FF09}" dt="2020-02-20T14:27:09.056" v="1414"/>
          <ac:spMkLst>
            <pc:docMk/>
            <pc:sldMk cId="3879515304" sldId="968"/>
            <ac:spMk id="3" creationId="{102D639C-00CA-4D32-BA17-619197EEAF94}"/>
          </ac:spMkLst>
        </pc:spChg>
        <pc:spChg chg="add mod">
          <ac:chgData name="Casey Mullen" userId="615adb39-d18b-4c1c-ae7a-6cece5c624ca" providerId="ADAL" clId="{879D8575-D9EF-467B-924E-C3696263FF09}" dt="2020-02-20T18:39:51.514" v="3274" actId="20577"/>
          <ac:spMkLst>
            <pc:docMk/>
            <pc:sldMk cId="3879515304" sldId="968"/>
            <ac:spMk id="4" creationId="{6465B3B0-34B9-4014-9401-448E1849194A}"/>
          </ac:spMkLst>
        </pc:spChg>
        <pc:picChg chg="add del">
          <ac:chgData name="Casey Mullen" userId="615adb39-d18b-4c1c-ae7a-6cece5c624ca" providerId="ADAL" clId="{879D8575-D9EF-467B-924E-C3696263FF09}" dt="2020-02-20T14:27:15.513" v="1416"/>
          <ac:picMkLst>
            <pc:docMk/>
            <pc:sldMk cId="3879515304" sldId="968"/>
            <ac:picMk id="5" creationId="{551BE9B7-F4DF-449F-A168-B7E6AA436138}"/>
          </ac:picMkLst>
        </pc:picChg>
        <pc:picChg chg="add mod">
          <ac:chgData name="Casey Mullen" userId="615adb39-d18b-4c1c-ae7a-6cece5c624ca" providerId="ADAL" clId="{879D8575-D9EF-467B-924E-C3696263FF09}" dt="2020-02-20T19:52:16.576" v="3306" actId="1035"/>
          <ac:picMkLst>
            <pc:docMk/>
            <pc:sldMk cId="3879515304" sldId="968"/>
            <ac:picMk id="2050" creationId="{36C04FF8-CC8B-4EF6-B9C3-55D66B91DAEA}"/>
          </ac:picMkLst>
        </pc:picChg>
      </pc:sldChg>
      <pc:sldChg chg="addSp delSp modSp add delAnim modAnim">
        <pc:chgData name="Casey Mullen" userId="615adb39-d18b-4c1c-ae7a-6cece5c624ca" providerId="ADAL" clId="{879D8575-D9EF-467B-924E-C3696263FF09}" dt="2020-02-20T19:55:15.975" v="3315" actId="478"/>
        <pc:sldMkLst>
          <pc:docMk/>
          <pc:sldMk cId="1874795208" sldId="969"/>
        </pc:sldMkLst>
        <pc:spChg chg="del mod">
          <ac:chgData name="Casey Mullen" userId="615adb39-d18b-4c1c-ae7a-6cece5c624ca" providerId="ADAL" clId="{879D8575-D9EF-467B-924E-C3696263FF09}" dt="2020-02-20T15:11:29.881" v="2287" actId="478"/>
          <ac:spMkLst>
            <pc:docMk/>
            <pc:sldMk cId="1874795208" sldId="969"/>
            <ac:spMk id="2" creationId="{A5213E80-FC72-43C8-9440-7C084EC83EA6}"/>
          </ac:spMkLst>
        </pc:spChg>
        <pc:spChg chg="mod">
          <ac:chgData name="Casey Mullen" userId="615adb39-d18b-4c1c-ae7a-6cece5c624ca" providerId="ADAL" clId="{879D8575-D9EF-467B-924E-C3696263FF09}" dt="2020-02-20T15:26:54.623" v="2859" actId="20577"/>
          <ac:spMkLst>
            <pc:docMk/>
            <pc:sldMk cId="1874795208" sldId="969"/>
            <ac:spMk id="13" creationId="{71FA75EC-3EB7-4D1B-A710-4AD719717FF1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41" creationId="{F0F7C761-DBFD-4C19-B812-1EFD52BDA1FD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42" creationId="{89B91A79-F17F-4CC6-84C7-74DD35DA06AB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46" creationId="{3803B72D-9359-4AEA-AA16-740DABFD75E0}"/>
          </ac:spMkLst>
        </pc:spChg>
        <pc:spChg chg="del mod">
          <ac:chgData name="Casey Mullen" userId="615adb39-d18b-4c1c-ae7a-6cece5c624ca" providerId="ADAL" clId="{879D8575-D9EF-467B-924E-C3696263FF09}" dt="2020-02-20T15:11:29.881" v="2287" actId="478"/>
          <ac:spMkLst>
            <pc:docMk/>
            <pc:sldMk cId="1874795208" sldId="969"/>
            <ac:spMk id="47" creationId="{087853AB-790D-4BF4-A6B3-37D946FDA213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48" creationId="{0CA37C85-F8A2-44C9-A222-CF75D661BF55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49" creationId="{5232C2BA-7A98-498C-A7FC-AAE1C292CAEC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50" creationId="{661F1C4C-D249-4719-96AF-69D975428010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51" creationId="{32CDD8B2-EEE1-4791-A5AC-BD2F9C397517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53" creationId="{43EB1D56-2A26-49DB-90FC-D88054E39B64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54" creationId="{B41CA356-392E-4107-AF53-69616CA49E3E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55" creationId="{5F28F2A1-D29A-4012-A9F3-997A656FC327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56" creationId="{92BF8CF2-E0EE-4003-A3E7-112DC93D2E2E}"/>
          </ac:spMkLst>
        </pc:spChg>
        <pc:spChg chg="del mod">
          <ac:chgData name="Casey Mullen" userId="615adb39-d18b-4c1c-ae7a-6cece5c624ca" providerId="ADAL" clId="{879D8575-D9EF-467B-924E-C3696263FF09}" dt="2020-02-20T19:55:15.975" v="3315" actId="478"/>
          <ac:spMkLst>
            <pc:docMk/>
            <pc:sldMk cId="1874795208" sldId="969"/>
            <ac:spMk id="66" creationId="{BD7FC7BC-7529-45A1-BA06-6CE401543296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67" creationId="{5BF81A85-C8F2-425D-995E-7F060203D785}"/>
          </ac:spMkLst>
        </pc:spChg>
        <pc:spChg chg="del mod">
          <ac:chgData name="Casey Mullen" userId="615adb39-d18b-4c1c-ae7a-6cece5c624ca" providerId="ADAL" clId="{879D8575-D9EF-467B-924E-C3696263FF09}" dt="2020-02-20T15:11:29.881" v="2287" actId="478"/>
          <ac:spMkLst>
            <pc:docMk/>
            <pc:sldMk cId="1874795208" sldId="969"/>
            <ac:spMk id="68" creationId="{070D0571-CA6C-4285-9978-A495A398B16D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69" creationId="{3FEC18A2-CA51-456E-A213-15E5E0B852F9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70" creationId="{717E7784-986F-45D6-8A75-35330343C58C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71" creationId="{EE185286-6008-48FC-AE08-19176A117885}"/>
          </ac:spMkLst>
        </pc:spChg>
        <pc:spChg chg="del">
          <ac:chgData name="Casey Mullen" userId="615adb39-d18b-4c1c-ae7a-6cece5c624ca" providerId="ADAL" clId="{879D8575-D9EF-467B-924E-C3696263FF09}" dt="2020-02-20T14:57:32.267" v="2072" actId="478"/>
          <ac:spMkLst>
            <pc:docMk/>
            <pc:sldMk cId="1874795208" sldId="969"/>
            <ac:spMk id="78" creationId="{A771BE95-B326-4B85-9322-B0D695F075EE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79" creationId="{999642AA-7F15-4186-9A43-647544818BC5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80" creationId="{0942527D-7170-4E5E-9F67-99D155E35EA7}"/>
          </ac:spMkLst>
        </pc:spChg>
        <pc:spChg chg="add del mod">
          <ac:chgData name="Casey Mullen" userId="615adb39-d18b-4c1c-ae7a-6cece5c624ca" providerId="ADAL" clId="{879D8575-D9EF-467B-924E-C3696263FF09}" dt="2020-02-20T15:00:11.614" v="2078" actId="478"/>
          <ac:spMkLst>
            <pc:docMk/>
            <pc:sldMk cId="1874795208" sldId="969"/>
            <ac:spMk id="81" creationId="{45BFDD68-66BC-43D0-9BA0-8FBC51163F56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82" creationId="{3E9E2C74-32DB-4E53-8B81-2B0FAB95E8C7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83" creationId="{A1DD08E8-A1D4-4D44-B000-8878BE0CAB35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84" creationId="{F79FD306-DB6D-49D4-B442-22A883F67282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85" creationId="{2CC36D0D-DA96-4014-BAE3-207316B4D01F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86" creationId="{579592D6-BDCD-4B28-8571-A61C89EE9266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87" creationId="{205DC94F-BC00-4783-B13C-ED9118D29352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88" creationId="{FC3CFD44-AB8C-4F1D-ADDA-47284B71E284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89" creationId="{31542D83-FE51-4518-861F-35A3CA564C34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90" creationId="{D01CE960-2269-42E4-A4B5-F2EEFF60931C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91" creationId="{73DA25A1-BD92-4449-B4B5-48B938E7427A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92" creationId="{A70B6E1A-ADED-468B-87B1-05E34F853EAB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93" creationId="{0429F295-3E4E-40A4-A8B0-3D89641A17AA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94" creationId="{33CF1E86-E759-40C4-BACB-46D8160981D5}"/>
          </ac:spMkLst>
        </pc:spChg>
        <pc:spChg chg="del">
          <ac:chgData name="Casey Mullen" userId="615adb39-d18b-4c1c-ae7a-6cece5c624ca" providerId="ADAL" clId="{879D8575-D9EF-467B-924E-C3696263FF09}" dt="2020-02-20T14:57:28.571" v="2071" actId="478"/>
          <ac:spMkLst>
            <pc:docMk/>
            <pc:sldMk cId="1874795208" sldId="969"/>
            <ac:spMk id="95" creationId="{E8DDDFA5-1A71-406F-8EE9-F60893486D3E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96" creationId="{EC8B4BB4-4741-4411-8F84-2A016DE864DA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97" creationId="{1B8EDC8B-1552-42A2-A823-F3B85407C792}"/>
          </ac:spMkLst>
        </pc:spChg>
        <pc:spChg chg="del mod">
          <ac:chgData name="Casey Mullen" userId="615adb39-d18b-4c1c-ae7a-6cece5c624ca" providerId="ADAL" clId="{879D8575-D9EF-467B-924E-C3696263FF09}" dt="2020-02-20T15:11:29.881" v="2287" actId="478"/>
          <ac:spMkLst>
            <pc:docMk/>
            <pc:sldMk cId="1874795208" sldId="969"/>
            <ac:spMk id="103" creationId="{35B8DFFD-E25F-4E69-9130-6E1FD9D3B143}"/>
          </ac:spMkLst>
        </pc:spChg>
        <pc:spChg chg="del">
          <ac:chgData name="Casey Mullen" userId="615adb39-d18b-4c1c-ae7a-6cece5c624ca" providerId="ADAL" clId="{879D8575-D9EF-467B-924E-C3696263FF09}" dt="2020-02-20T14:57:32.267" v="2072" actId="478"/>
          <ac:spMkLst>
            <pc:docMk/>
            <pc:sldMk cId="1874795208" sldId="969"/>
            <ac:spMk id="104" creationId="{94174104-8A27-4ABC-880C-473335BB30E9}"/>
          </ac:spMkLst>
        </pc:spChg>
        <pc:spChg chg="mod">
          <ac:chgData name="Casey Mullen" userId="615adb39-d18b-4c1c-ae7a-6cece5c624ca" providerId="ADAL" clId="{879D8575-D9EF-467B-924E-C3696263FF09}" dt="2020-02-20T15:00:18.533" v="2086" actId="20577"/>
          <ac:spMkLst>
            <pc:docMk/>
            <pc:sldMk cId="1874795208" sldId="969"/>
            <ac:spMk id="105" creationId="{87AF597D-A5FE-4A8E-9D03-5B6C81845366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09" creationId="{A3C6E97B-A6A5-47A5-BB7E-7626DFB9C77C}"/>
          </ac:spMkLst>
        </pc:spChg>
        <pc:spChg chg="mod">
          <ac:chgData name="Casey Mullen" userId="615adb39-d18b-4c1c-ae7a-6cece5c624ca" providerId="ADAL" clId="{879D8575-D9EF-467B-924E-C3696263FF09}" dt="2020-02-20T15:00:37.209" v="2101" actId="1036"/>
          <ac:spMkLst>
            <pc:docMk/>
            <pc:sldMk cId="1874795208" sldId="969"/>
            <ac:spMk id="112" creationId="{C069188F-6398-4CAE-A7D8-E6497DA26D89}"/>
          </ac:spMkLst>
        </pc:spChg>
        <pc:spChg chg="add del mod">
          <ac:chgData name="Casey Mullen" userId="615adb39-d18b-4c1c-ae7a-6cece5c624ca" providerId="ADAL" clId="{879D8575-D9EF-467B-924E-C3696263FF09}" dt="2020-02-20T15:07:16.343" v="2220" actId="478"/>
          <ac:spMkLst>
            <pc:docMk/>
            <pc:sldMk cId="1874795208" sldId="969"/>
            <ac:spMk id="113" creationId="{88CDF85E-B4ED-4D80-9CEA-ACCF33A31470}"/>
          </ac:spMkLst>
        </pc:spChg>
        <pc:spChg chg="mod">
          <ac:chgData name="Casey Mullen" userId="615adb39-d18b-4c1c-ae7a-6cece5c624ca" providerId="ADAL" clId="{879D8575-D9EF-467B-924E-C3696263FF09}" dt="2020-02-20T15:01:01.641" v="2104" actId="6549"/>
          <ac:spMkLst>
            <pc:docMk/>
            <pc:sldMk cId="1874795208" sldId="969"/>
            <ac:spMk id="125" creationId="{32AA25BC-054B-4879-874B-16420C296CA6}"/>
          </ac:spMkLst>
        </pc:spChg>
        <pc:spChg chg="add del mod">
          <ac:chgData name="Casey Mullen" userId="615adb39-d18b-4c1c-ae7a-6cece5c624ca" providerId="ADAL" clId="{879D8575-D9EF-467B-924E-C3696263FF09}" dt="2020-02-20T15:10:10.516" v="2285" actId="478"/>
          <ac:spMkLst>
            <pc:docMk/>
            <pc:sldMk cId="1874795208" sldId="969"/>
            <ac:spMk id="126" creationId="{62F5DE5F-A264-4E32-9253-ABA7F6E90054}"/>
          </ac:spMkLst>
        </pc:spChg>
        <pc:spChg chg="add del mod">
          <ac:chgData name="Casey Mullen" userId="615adb39-d18b-4c1c-ae7a-6cece5c624ca" providerId="ADAL" clId="{879D8575-D9EF-467B-924E-C3696263FF09}" dt="2020-02-20T15:07:16.343" v="2220" actId="478"/>
          <ac:spMkLst>
            <pc:docMk/>
            <pc:sldMk cId="1874795208" sldId="969"/>
            <ac:spMk id="130" creationId="{D5E75816-033A-4E10-A5B9-EC454FF9C94E}"/>
          </ac:spMkLst>
        </pc:spChg>
        <pc:spChg chg="del mod">
          <ac:chgData name="Casey Mullen" userId="615adb39-d18b-4c1c-ae7a-6cece5c624ca" providerId="ADAL" clId="{879D8575-D9EF-467B-924E-C3696263FF09}" dt="2020-02-20T15:11:29.881" v="2287" actId="478"/>
          <ac:spMkLst>
            <pc:docMk/>
            <pc:sldMk cId="1874795208" sldId="969"/>
            <ac:spMk id="133" creationId="{F58CFE6E-0C9D-4E8A-81CB-C4F4BF7649F1}"/>
          </ac:spMkLst>
        </pc:spChg>
        <pc:spChg chg="mod">
          <ac:chgData name="Casey Mullen" userId="615adb39-d18b-4c1c-ae7a-6cece5c624ca" providerId="ADAL" clId="{879D8575-D9EF-467B-924E-C3696263FF09}" dt="2020-02-20T15:02:13.431" v="2162" actId="1035"/>
          <ac:spMkLst>
            <pc:docMk/>
            <pc:sldMk cId="1874795208" sldId="969"/>
            <ac:spMk id="134" creationId="{4BDD1E60-DD14-4B9F-BCA6-DC8197E17DAC}"/>
          </ac:spMkLst>
        </pc:spChg>
        <pc:spChg chg="del mod">
          <ac:chgData name="Casey Mullen" userId="615adb39-d18b-4c1c-ae7a-6cece5c624ca" providerId="ADAL" clId="{879D8575-D9EF-467B-924E-C3696263FF09}" dt="2020-02-20T15:11:29.881" v="2287" actId="478"/>
          <ac:spMkLst>
            <pc:docMk/>
            <pc:sldMk cId="1874795208" sldId="969"/>
            <ac:spMk id="136" creationId="{3B352C25-FC12-436A-940A-B1ECAA45DB9B}"/>
          </ac:spMkLst>
        </pc:spChg>
        <pc:spChg chg="mod">
          <ac:chgData name="Casey Mullen" userId="615adb39-d18b-4c1c-ae7a-6cece5c624ca" providerId="ADAL" clId="{879D8575-D9EF-467B-924E-C3696263FF09}" dt="2020-02-20T15:05:37.126" v="2174" actId="20577"/>
          <ac:spMkLst>
            <pc:docMk/>
            <pc:sldMk cId="1874795208" sldId="969"/>
            <ac:spMk id="141" creationId="{3719EAE5-F511-437A-A043-FEB5308103E9}"/>
          </ac:spMkLst>
        </pc:spChg>
        <pc:spChg chg="del mod">
          <ac:chgData name="Casey Mullen" userId="615adb39-d18b-4c1c-ae7a-6cece5c624ca" providerId="ADAL" clId="{879D8575-D9EF-467B-924E-C3696263FF09}" dt="2020-02-20T15:11:29.881" v="2287" actId="478"/>
          <ac:spMkLst>
            <pc:docMk/>
            <pc:sldMk cId="1874795208" sldId="969"/>
            <ac:spMk id="143" creationId="{078B35B0-6BDD-43F7-B157-68EAD61468DE}"/>
          </ac:spMkLst>
        </pc:spChg>
        <pc:spChg chg="add del mod">
          <ac:chgData name="Casey Mullen" userId="615adb39-d18b-4c1c-ae7a-6cece5c624ca" providerId="ADAL" clId="{879D8575-D9EF-467B-924E-C3696263FF09}" dt="2020-02-20T15:08:22.024" v="2238" actId="478"/>
          <ac:spMkLst>
            <pc:docMk/>
            <pc:sldMk cId="1874795208" sldId="969"/>
            <ac:spMk id="147" creationId="{D73BCEDA-28F4-4D40-83AE-7B36C1E7FA21}"/>
          </ac:spMkLst>
        </pc:spChg>
        <pc:spChg chg="mod">
          <ac:chgData name="Casey Mullen" userId="615adb39-d18b-4c1c-ae7a-6cece5c624ca" providerId="ADAL" clId="{879D8575-D9EF-467B-924E-C3696263FF09}" dt="2020-02-20T15:07:11.290" v="2219" actId="1037"/>
          <ac:spMkLst>
            <pc:docMk/>
            <pc:sldMk cId="1874795208" sldId="969"/>
            <ac:spMk id="151" creationId="{9E29B607-D4A6-47E6-B08B-E91775B7D796}"/>
          </ac:spMkLst>
        </pc:spChg>
        <pc:spChg chg="mod">
          <ac:chgData name="Casey Mullen" userId="615adb39-d18b-4c1c-ae7a-6cece5c624ca" providerId="ADAL" clId="{879D8575-D9EF-467B-924E-C3696263FF09}" dt="2020-02-20T15:13:19.279" v="2526" actId="6549"/>
          <ac:spMkLst>
            <pc:docMk/>
            <pc:sldMk cId="1874795208" sldId="969"/>
            <ac:spMk id="152" creationId="{0A6DD9A7-0BD0-4ACD-8D18-E69C51908F7A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53" creationId="{B24A0A11-6948-4BCD-A8EB-722CB4D61B88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55" creationId="{0590F153-3779-47DD-9948-905169FCD79E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56" creationId="{47802FDD-1085-4B3C-9A6A-A7A438CCE67E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57" creationId="{75177FEE-8B23-4945-83C8-3B8A11B62E7D}"/>
          </ac:spMkLst>
        </pc:spChg>
        <pc:spChg chg="add mod">
          <ac:chgData name="Casey Mullen" userId="615adb39-d18b-4c1c-ae7a-6cece5c624ca" providerId="ADAL" clId="{879D8575-D9EF-467B-924E-C3696263FF09}" dt="2020-02-20T15:40:32.854" v="3098" actId="1076"/>
          <ac:spMkLst>
            <pc:docMk/>
            <pc:sldMk cId="1874795208" sldId="969"/>
            <ac:spMk id="158" creationId="{2E8115C4-4665-4580-AF99-DCDC72EFF981}"/>
          </ac:spMkLst>
        </pc:spChg>
        <pc:spChg chg="add mod">
          <ac:chgData name="Casey Mullen" userId="615adb39-d18b-4c1c-ae7a-6cece5c624ca" providerId="ADAL" clId="{879D8575-D9EF-467B-924E-C3696263FF09}" dt="2020-02-20T15:43:25.106" v="3147" actId="14100"/>
          <ac:spMkLst>
            <pc:docMk/>
            <pc:sldMk cId="1874795208" sldId="969"/>
            <ac:spMk id="159" creationId="{6DB32D40-5ABB-40C2-86F8-8E71898B712E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60" creationId="{CD766438-3850-4B69-B35E-BDFBD45A358D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61" creationId="{D57FB4FC-6AF1-48EC-8988-99CB443A911F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62" creationId="{3911B10D-4BAF-4EA5-8339-A30B3FA4510D}"/>
          </ac:spMkLst>
        </pc:spChg>
        <pc:spChg chg="add del mod">
          <ac:chgData name="Casey Mullen" userId="615adb39-d18b-4c1c-ae7a-6cece5c624ca" providerId="ADAL" clId="{879D8575-D9EF-467B-924E-C3696263FF09}" dt="2020-02-20T15:43:25.986" v="3148" actId="1076"/>
          <ac:spMkLst>
            <pc:docMk/>
            <pc:sldMk cId="1874795208" sldId="969"/>
            <ac:spMk id="163" creationId="{B963FA65-ECEF-462F-A658-C53CF5BEF88A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64" creationId="{326A7D25-784D-4896-A0A7-FF172FB9949E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65" creationId="{B39BBBC8-BC06-48CC-85C3-399A25463864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66" creationId="{8C0208CA-CA3C-4AF0-B2BE-D902D7163B61}"/>
          </ac:spMkLst>
        </pc:spChg>
        <pc:spChg chg="add mod">
          <ac:chgData name="Casey Mullen" userId="615adb39-d18b-4c1c-ae7a-6cece5c624ca" providerId="ADAL" clId="{879D8575-D9EF-467B-924E-C3696263FF09}" dt="2020-02-20T15:15:16.770" v="2590" actId="1037"/>
          <ac:spMkLst>
            <pc:docMk/>
            <pc:sldMk cId="1874795208" sldId="969"/>
            <ac:spMk id="167" creationId="{9480DD29-8289-485A-9CC9-2FA3CBA049C1}"/>
          </ac:spMkLst>
        </pc:spChg>
        <pc:spChg chg="mod">
          <ac:chgData name="Casey Mullen" userId="615adb39-d18b-4c1c-ae7a-6cece5c624ca" providerId="ADAL" clId="{879D8575-D9EF-467B-924E-C3696263FF09}" dt="2020-02-20T15:15:42.809" v="2612" actId="1035"/>
          <ac:spMkLst>
            <pc:docMk/>
            <pc:sldMk cId="1874795208" sldId="969"/>
            <ac:spMk id="176" creationId="{923D0DF4-6627-4E9F-9F2C-19DF450DF6E0}"/>
          </ac:spMkLst>
        </pc:spChg>
        <pc:spChg chg="mod">
          <ac:chgData name="Casey Mullen" userId="615adb39-d18b-4c1c-ae7a-6cece5c624ca" providerId="ADAL" clId="{879D8575-D9EF-467B-924E-C3696263FF09}" dt="2020-02-20T15:16:35.372" v="2627" actId="207"/>
          <ac:spMkLst>
            <pc:docMk/>
            <pc:sldMk cId="1874795208" sldId="969"/>
            <ac:spMk id="178" creationId="{63AAD30B-4A31-4637-8FD4-29A398852CF0}"/>
          </ac:spMkLst>
        </pc:spChg>
        <pc:spChg chg="mod">
          <ac:chgData name="Casey Mullen" userId="615adb39-d18b-4c1c-ae7a-6cece5c624ca" providerId="ADAL" clId="{879D8575-D9EF-467B-924E-C3696263FF09}" dt="2020-02-20T15:16:24.935" v="2626" actId="108"/>
          <ac:spMkLst>
            <pc:docMk/>
            <pc:sldMk cId="1874795208" sldId="969"/>
            <ac:spMk id="179" creationId="{49479728-2BA3-4D22-AD90-9F834727CD7C}"/>
          </ac:spMkLst>
        </pc:spChg>
        <pc:spChg chg="mod">
          <ac:chgData name="Casey Mullen" userId="615adb39-d18b-4c1c-ae7a-6cece5c624ca" providerId="ADAL" clId="{879D8575-D9EF-467B-924E-C3696263FF09}" dt="2020-02-20T15:22:54.718" v="2726" actId="1035"/>
          <ac:spMkLst>
            <pc:docMk/>
            <pc:sldMk cId="1874795208" sldId="969"/>
            <ac:spMk id="182" creationId="{74DB8233-4C0D-491E-B45A-84EF7BB06ACE}"/>
          </ac:spMkLst>
        </pc:spChg>
        <pc:spChg chg="mod">
          <ac:chgData name="Casey Mullen" userId="615adb39-d18b-4c1c-ae7a-6cece5c624ca" providerId="ADAL" clId="{879D8575-D9EF-467B-924E-C3696263FF09}" dt="2020-02-20T15:23:18.086" v="2737" actId="20577"/>
          <ac:spMkLst>
            <pc:docMk/>
            <pc:sldMk cId="1874795208" sldId="969"/>
            <ac:spMk id="185" creationId="{E4465E21-30E4-4AD2-BCD3-5725E15A959F}"/>
          </ac:spMkLst>
        </pc:spChg>
        <pc:spChg chg="add mod">
          <ac:chgData name="Casey Mullen" userId="615adb39-d18b-4c1c-ae7a-6cece5c624ca" providerId="ADAL" clId="{879D8575-D9EF-467B-924E-C3696263FF09}" dt="2020-02-20T15:30:08.038" v="2991" actId="1038"/>
          <ac:spMkLst>
            <pc:docMk/>
            <pc:sldMk cId="1874795208" sldId="969"/>
            <ac:spMk id="186" creationId="{0D01F048-46A8-4B17-9C16-5C5EED590C16}"/>
          </ac:spMkLst>
        </pc:spChg>
        <pc:spChg chg="add del mod">
          <ac:chgData name="Casey Mullen" userId="615adb39-d18b-4c1c-ae7a-6cece5c624ca" providerId="ADAL" clId="{879D8575-D9EF-467B-924E-C3696263FF09}" dt="2020-02-20T15:27:10.987" v="2860" actId="478"/>
          <ac:spMkLst>
            <pc:docMk/>
            <pc:sldMk cId="1874795208" sldId="969"/>
            <ac:spMk id="188" creationId="{B7C336DA-7CCF-4B41-9474-CF4855EAEC6D}"/>
          </ac:spMkLst>
        </pc:spChg>
        <pc:spChg chg="add del mod">
          <ac:chgData name="Casey Mullen" userId="615adb39-d18b-4c1c-ae7a-6cece5c624ca" providerId="ADAL" clId="{879D8575-D9EF-467B-924E-C3696263FF09}" dt="2020-02-20T15:27:10.987" v="2860" actId="478"/>
          <ac:spMkLst>
            <pc:docMk/>
            <pc:sldMk cId="1874795208" sldId="969"/>
            <ac:spMk id="189" creationId="{348B2574-7CEF-4B92-8BF5-38AEB17C4613}"/>
          </ac:spMkLst>
        </pc:spChg>
        <pc:spChg chg="add mod ord">
          <ac:chgData name="Casey Mullen" userId="615adb39-d18b-4c1c-ae7a-6cece5c624ca" providerId="ADAL" clId="{879D8575-D9EF-467B-924E-C3696263FF09}" dt="2020-02-20T15:30:00.907" v="2981" actId="14100"/>
          <ac:spMkLst>
            <pc:docMk/>
            <pc:sldMk cId="1874795208" sldId="969"/>
            <ac:spMk id="190" creationId="{04E9AA04-4120-4495-9313-3DB5B1BB6506}"/>
          </ac:spMkLst>
        </pc:spChg>
        <pc:grpChg chg="del mod">
          <ac:chgData name="Casey Mullen" userId="615adb39-d18b-4c1c-ae7a-6cece5c624ca" providerId="ADAL" clId="{879D8575-D9EF-467B-924E-C3696263FF09}" dt="2020-02-20T15:11:29.881" v="2287" actId="478"/>
          <ac:grpSpMkLst>
            <pc:docMk/>
            <pc:sldMk cId="1874795208" sldId="969"/>
            <ac:grpSpMk id="8" creationId="{40684432-06D7-406F-A8C9-81176B34BE5F}"/>
          </ac:grpSpMkLst>
        </pc:grpChg>
        <pc:grpChg chg="del mod">
          <ac:chgData name="Casey Mullen" userId="615adb39-d18b-4c1c-ae7a-6cece5c624ca" providerId="ADAL" clId="{879D8575-D9EF-467B-924E-C3696263FF09}" dt="2020-02-20T15:11:29.881" v="2287" actId="478"/>
          <ac:grpSpMkLst>
            <pc:docMk/>
            <pc:sldMk cId="1874795208" sldId="969"/>
            <ac:grpSpMk id="9" creationId="{103CB57C-C50B-4A32-8E70-C6B2937F9AEF}"/>
          </ac:grpSpMkLst>
        </pc:grpChg>
        <pc:grpChg chg="del mod">
          <ac:chgData name="Casey Mullen" userId="615adb39-d18b-4c1c-ae7a-6cece5c624ca" providerId="ADAL" clId="{879D8575-D9EF-467B-924E-C3696263FF09}" dt="2020-02-20T15:11:29.881" v="2287" actId="478"/>
          <ac:grpSpMkLst>
            <pc:docMk/>
            <pc:sldMk cId="1874795208" sldId="969"/>
            <ac:grpSpMk id="10" creationId="{8E34BE3D-DBFA-4A01-BD96-A8594D08B36E}"/>
          </ac:grpSpMkLst>
        </pc:grpChg>
        <pc:grpChg chg="del mod">
          <ac:chgData name="Casey Mullen" userId="615adb39-d18b-4c1c-ae7a-6cece5c624ca" providerId="ADAL" clId="{879D8575-D9EF-467B-924E-C3696263FF09}" dt="2020-02-20T15:11:29.881" v="2287" actId="478"/>
          <ac:grpSpMkLst>
            <pc:docMk/>
            <pc:sldMk cId="1874795208" sldId="969"/>
            <ac:grpSpMk id="43" creationId="{2A5D0295-3E36-466B-B25F-D6BC305BE00D}"/>
          </ac:grpSpMkLst>
        </pc:grpChg>
        <pc:grpChg chg="del mod">
          <ac:chgData name="Casey Mullen" userId="615adb39-d18b-4c1c-ae7a-6cece5c624ca" providerId="ADAL" clId="{879D8575-D9EF-467B-924E-C3696263FF09}" dt="2020-02-20T15:11:29.881" v="2287" actId="478"/>
          <ac:grpSpMkLst>
            <pc:docMk/>
            <pc:sldMk cId="1874795208" sldId="969"/>
            <ac:grpSpMk id="72" creationId="{9ACF9438-DDDC-4FED-85A0-A1BABC936137}"/>
          </ac:grpSpMkLst>
        </pc:grpChg>
        <pc:grpChg chg="del mod">
          <ac:chgData name="Casey Mullen" userId="615adb39-d18b-4c1c-ae7a-6cece5c624ca" providerId="ADAL" clId="{879D8575-D9EF-467B-924E-C3696263FF09}" dt="2020-02-20T15:11:29.881" v="2287" actId="478"/>
          <ac:grpSpMkLst>
            <pc:docMk/>
            <pc:sldMk cId="1874795208" sldId="969"/>
            <ac:grpSpMk id="74" creationId="{ED173835-D9F2-4F87-B767-107475B02FA5}"/>
          </ac:grpSpMkLst>
        </pc:grpChg>
        <pc:grpChg chg="add mod">
          <ac:chgData name="Casey Mullen" userId="615adb39-d18b-4c1c-ae7a-6cece5c624ca" providerId="ADAL" clId="{879D8575-D9EF-467B-924E-C3696263FF09}" dt="2020-02-20T15:15:16.770" v="2590" actId="1037"/>
          <ac:grpSpMkLst>
            <pc:docMk/>
            <pc:sldMk cId="1874795208" sldId="969"/>
            <ac:grpSpMk id="98" creationId="{65BF5C0C-67E3-4232-AFF6-6C04FC45275A}"/>
          </ac:grpSpMkLst>
        </pc:grpChg>
        <pc:grpChg chg="del mod">
          <ac:chgData name="Casey Mullen" userId="615adb39-d18b-4c1c-ae7a-6cece5c624ca" providerId="ADAL" clId="{879D8575-D9EF-467B-924E-C3696263FF09}" dt="2020-02-20T15:11:29.881" v="2287" actId="478"/>
          <ac:grpSpMkLst>
            <pc:docMk/>
            <pc:sldMk cId="1874795208" sldId="969"/>
            <ac:grpSpMk id="100" creationId="{95A94179-5431-4967-9FE9-19939FC84178}"/>
          </ac:grpSpMkLst>
        </pc:grpChg>
        <pc:grpChg chg="add del mod">
          <ac:chgData name="Casey Mullen" userId="615adb39-d18b-4c1c-ae7a-6cece5c624ca" providerId="ADAL" clId="{879D8575-D9EF-467B-924E-C3696263FF09}" dt="2020-02-20T15:00:11.614" v="2078" actId="478"/>
          <ac:grpSpMkLst>
            <pc:docMk/>
            <pc:sldMk cId="1874795208" sldId="969"/>
            <ac:grpSpMk id="106" creationId="{29DB0672-E729-4E5A-9D9B-F4A1688C0446}"/>
          </ac:grpSpMkLst>
        </pc:grpChg>
        <pc:grpChg chg="add mod">
          <ac:chgData name="Casey Mullen" userId="615adb39-d18b-4c1c-ae7a-6cece5c624ca" providerId="ADAL" clId="{879D8575-D9EF-467B-924E-C3696263FF09}" dt="2020-02-20T15:15:16.770" v="2590" actId="1037"/>
          <ac:grpSpMkLst>
            <pc:docMk/>
            <pc:sldMk cId="1874795208" sldId="969"/>
            <ac:grpSpMk id="110" creationId="{BF15EF83-9044-4620-9A66-A8E977A04FC6}"/>
          </ac:grpSpMkLst>
        </pc:grpChg>
        <pc:grpChg chg="add del mod">
          <ac:chgData name="Casey Mullen" userId="615adb39-d18b-4c1c-ae7a-6cece5c624ca" providerId="ADAL" clId="{879D8575-D9EF-467B-924E-C3696263FF09}" dt="2020-02-20T15:27:20.815" v="2861" actId="478"/>
          <ac:grpSpMkLst>
            <pc:docMk/>
            <pc:sldMk cId="1874795208" sldId="969"/>
            <ac:grpSpMk id="114" creationId="{79A52B82-04E0-417D-8061-C052112563B8}"/>
          </ac:grpSpMkLst>
        </pc:grpChg>
        <pc:grpChg chg="add del mod">
          <ac:chgData name="Casey Mullen" userId="615adb39-d18b-4c1c-ae7a-6cece5c624ca" providerId="ADAL" clId="{879D8575-D9EF-467B-924E-C3696263FF09}" dt="2020-02-20T15:07:16.343" v="2220" actId="478"/>
          <ac:grpSpMkLst>
            <pc:docMk/>
            <pc:sldMk cId="1874795208" sldId="969"/>
            <ac:grpSpMk id="117" creationId="{59BEF929-78CF-4AB0-9903-487FD4F4E06C}"/>
          </ac:grpSpMkLst>
        </pc:grpChg>
        <pc:grpChg chg="add del mod">
          <ac:chgData name="Casey Mullen" userId="615adb39-d18b-4c1c-ae7a-6cece5c624ca" providerId="ADAL" clId="{879D8575-D9EF-467B-924E-C3696263FF09}" dt="2020-02-20T15:07:16.343" v="2220" actId="478"/>
          <ac:grpSpMkLst>
            <pc:docMk/>
            <pc:sldMk cId="1874795208" sldId="969"/>
            <ac:grpSpMk id="120" creationId="{07F6EF8C-26B9-424D-95BA-8FD70821DF01}"/>
          </ac:grpSpMkLst>
        </pc:grpChg>
        <pc:grpChg chg="add mod">
          <ac:chgData name="Casey Mullen" userId="615adb39-d18b-4c1c-ae7a-6cece5c624ca" providerId="ADAL" clId="{879D8575-D9EF-467B-924E-C3696263FF09}" dt="2020-02-20T15:15:16.770" v="2590" actId="1037"/>
          <ac:grpSpMkLst>
            <pc:docMk/>
            <pc:sldMk cId="1874795208" sldId="969"/>
            <ac:grpSpMk id="123" creationId="{C2530312-EE3C-406F-ABA0-2716E4DF9852}"/>
          </ac:grpSpMkLst>
        </pc:grpChg>
        <pc:grpChg chg="add mod">
          <ac:chgData name="Casey Mullen" userId="615adb39-d18b-4c1c-ae7a-6cece5c624ca" providerId="ADAL" clId="{879D8575-D9EF-467B-924E-C3696263FF09}" dt="2020-02-20T15:15:16.770" v="2590" actId="1037"/>
          <ac:grpSpMkLst>
            <pc:docMk/>
            <pc:sldMk cId="1874795208" sldId="969"/>
            <ac:grpSpMk id="127" creationId="{70C089F6-E737-4CDC-9883-18F8760F95A8}"/>
          </ac:grpSpMkLst>
        </pc:grpChg>
        <pc:grpChg chg="add mod">
          <ac:chgData name="Casey Mullen" userId="615adb39-d18b-4c1c-ae7a-6cece5c624ca" providerId="ADAL" clId="{879D8575-D9EF-467B-924E-C3696263FF09}" dt="2020-02-20T15:15:16.770" v="2590" actId="1037"/>
          <ac:grpSpMkLst>
            <pc:docMk/>
            <pc:sldMk cId="1874795208" sldId="969"/>
            <ac:grpSpMk id="131" creationId="{74E00DBA-8418-4032-BA6C-23E719F94182}"/>
          </ac:grpSpMkLst>
        </pc:grpChg>
        <pc:grpChg chg="add del mod">
          <ac:chgData name="Casey Mullen" userId="615adb39-d18b-4c1c-ae7a-6cece5c624ca" providerId="ADAL" clId="{879D8575-D9EF-467B-924E-C3696263FF09}" dt="2020-02-20T15:32:33.815" v="3006" actId="478"/>
          <ac:grpSpMkLst>
            <pc:docMk/>
            <pc:sldMk cId="1874795208" sldId="969"/>
            <ac:grpSpMk id="139" creationId="{193E9A6D-F4B3-4B69-9C7B-1E33FE412E01}"/>
          </ac:grpSpMkLst>
        </pc:grpChg>
        <pc:grpChg chg="del mod">
          <ac:chgData name="Casey Mullen" userId="615adb39-d18b-4c1c-ae7a-6cece5c624ca" providerId="ADAL" clId="{879D8575-D9EF-467B-924E-C3696263FF09}" dt="2020-02-20T15:11:29.881" v="2287" actId="478"/>
          <ac:grpSpMkLst>
            <pc:docMk/>
            <pc:sldMk cId="1874795208" sldId="969"/>
            <ac:grpSpMk id="144" creationId="{90E60D90-2F24-448E-B4D1-F64934AEDE0C}"/>
          </ac:grpSpMkLst>
        </pc:grpChg>
        <pc:grpChg chg="add mod">
          <ac:chgData name="Casey Mullen" userId="615adb39-d18b-4c1c-ae7a-6cece5c624ca" providerId="ADAL" clId="{879D8575-D9EF-467B-924E-C3696263FF09}" dt="2020-02-20T15:15:16.770" v="2590" actId="1037"/>
          <ac:grpSpMkLst>
            <pc:docMk/>
            <pc:sldMk cId="1874795208" sldId="969"/>
            <ac:grpSpMk id="150" creationId="{A52C2488-C8EE-4CA0-B598-240EAE9FF8D3}"/>
          </ac:grpSpMkLst>
        </pc:grpChg>
        <pc:grpChg chg="add del mod">
          <ac:chgData name="Casey Mullen" userId="615adb39-d18b-4c1c-ae7a-6cece5c624ca" providerId="ADAL" clId="{879D8575-D9EF-467B-924E-C3696263FF09}" dt="2020-02-20T15:27:20.815" v="2861" actId="478"/>
          <ac:grpSpMkLst>
            <pc:docMk/>
            <pc:sldMk cId="1874795208" sldId="969"/>
            <ac:grpSpMk id="168" creationId="{69CA9469-8603-415A-B828-8A3800886D3B}"/>
          </ac:grpSpMkLst>
        </pc:grpChg>
        <pc:grpChg chg="add del mod">
          <ac:chgData name="Casey Mullen" userId="615adb39-d18b-4c1c-ae7a-6cece5c624ca" providerId="ADAL" clId="{879D8575-D9EF-467B-924E-C3696263FF09}" dt="2020-02-20T15:27:20.815" v="2861" actId="478"/>
          <ac:grpSpMkLst>
            <pc:docMk/>
            <pc:sldMk cId="1874795208" sldId="969"/>
            <ac:grpSpMk id="171" creationId="{613E1255-E8E7-4AB8-8834-915CE63AEC1C}"/>
          </ac:grpSpMkLst>
        </pc:grpChg>
        <pc:grpChg chg="add del mod">
          <ac:chgData name="Casey Mullen" userId="615adb39-d18b-4c1c-ae7a-6cece5c624ca" providerId="ADAL" clId="{879D8575-D9EF-467B-924E-C3696263FF09}" dt="2020-02-20T15:16:37.840" v="2628" actId="478"/>
          <ac:grpSpMkLst>
            <pc:docMk/>
            <pc:sldMk cId="1874795208" sldId="969"/>
            <ac:grpSpMk id="174" creationId="{77C751C8-207F-4E51-914F-CA229EA177D5}"/>
          </ac:grpSpMkLst>
        </pc:grpChg>
        <pc:grpChg chg="add del mod">
          <ac:chgData name="Casey Mullen" userId="615adb39-d18b-4c1c-ae7a-6cece5c624ca" providerId="ADAL" clId="{879D8575-D9EF-467B-924E-C3696263FF09}" dt="2020-02-20T15:32:33.815" v="3006" actId="478"/>
          <ac:grpSpMkLst>
            <pc:docMk/>
            <pc:sldMk cId="1874795208" sldId="969"/>
            <ac:grpSpMk id="177" creationId="{D40DB1B1-2832-4C1F-80E0-59EA55708867}"/>
          </ac:grpSpMkLst>
        </pc:grpChg>
        <pc:grpChg chg="add mod">
          <ac:chgData name="Casey Mullen" userId="615adb39-d18b-4c1c-ae7a-6cece5c624ca" providerId="ADAL" clId="{879D8575-D9EF-467B-924E-C3696263FF09}" dt="2020-02-20T15:30:08.038" v="2991" actId="1038"/>
          <ac:grpSpMkLst>
            <pc:docMk/>
            <pc:sldMk cId="1874795208" sldId="969"/>
            <ac:grpSpMk id="180" creationId="{15BEE63B-0D22-43B3-BE23-462E89A45D61}"/>
          </ac:grpSpMkLst>
        </pc:grpChg>
        <pc:grpChg chg="add mod">
          <ac:chgData name="Casey Mullen" userId="615adb39-d18b-4c1c-ae7a-6cece5c624ca" providerId="ADAL" clId="{879D8575-D9EF-467B-924E-C3696263FF09}" dt="2020-02-20T15:30:08.038" v="2991" actId="1038"/>
          <ac:grpSpMkLst>
            <pc:docMk/>
            <pc:sldMk cId="1874795208" sldId="969"/>
            <ac:grpSpMk id="183" creationId="{9281F490-FC6A-4A7A-B39D-778A7305BFEB}"/>
          </ac:grpSpMkLst>
        </pc:grpChg>
        <pc:grpChg chg="add">
          <ac:chgData name="Casey Mullen" userId="615adb39-d18b-4c1c-ae7a-6cece5c624ca" providerId="ADAL" clId="{879D8575-D9EF-467B-924E-C3696263FF09}" dt="2020-02-20T15:32:34.580" v="3007"/>
          <ac:grpSpMkLst>
            <pc:docMk/>
            <pc:sldMk cId="1874795208" sldId="969"/>
            <ac:grpSpMk id="191" creationId="{BC838876-EC67-4572-91DF-462F46C96BA6}"/>
          </ac:grpSpMkLst>
        </pc:grpChg>
        <pc:grpChg chg="add">
          <ac:chgData name="Casey Mullen" userId="615adb39-d18b-4c1c-ae7a-6cece5c624ca" providerId="ADAL" clId="{879D8575-D9EF-467B-924E-C3696263FF09}" dt="2020-02-20T15:32:34.580" v="3007"/>
          <ac:grpSpMkLst>
            <pc:docMk/>
            <pc:sldMk cId="1874795208" sldId="969"/>
            <ac:grpSpMk id="194" creationId="{AF3BCC0E-54A9-4D03-99CA-2CFC656D9C1D}"/>
          </ac:grpSpMkLst>
        </pc:grpChg>
        <pc:picChg chg="add del mod">
          <ac:chgData name="Casey Mullen" userId="615adb39-d18b-4c1c-ae7a-6cece5c624ca" providerId="ADAL" clId="{879D8575-D9EF-467B-924E-C3696263FF09}" dt="2020-02-20T15:27:10.987" v="2860" actId="478"/>
          <ac:picMkLst>
            <pc:docMk/>
            <pc:sldMk cId="1874795208" sldId="969"/>
            <ac:picMk id="187" creationId="{92C37B3E-D712-4C26-BC92-918BE03B030A}"/>
          </ac:picMkLst>
        </pc:picChg>
        <pc:cxnChg chg="add mod">
          <ac:chgData name="Casey Mullen" userId="615adb39-d18b-4c1c-ae7a-6cece5c624ca" providerId="ADAL" clId="{879D8575-D9EF-467B-924E-C3696263FF09}" dt="2020-02-20T15:15:16.770" v="2590" actId="1037"/>
          <ac:cxnSpMkLst>
            <pc:docMk/>
            <pc:sldMk cId="1874795208" sldId="969"/>
            <ac:cxnSpMk id="154" creationId="{5DD763CD-EA1E-47D0-AED7-371CF3DFD81F}"/>
          </ac:cxnSpMkLst>
        </pc:cxnChg>
      </pc:sldChg>
      <pc:sldChg chg="addSp delSp modSp add modTransition addAnim delAnim">
        <pc:chgData name="Casey Mullen" userId="615adb39-d18b-4c1c-ae7a-6cece5c624ca" providerId="ADAL" clId="{879D8575-D9EF-467B-924E-C3696263FF09}" dt="2020-02-20T19:54:06.497" v="3314"/>
        <pc:sldMkLst>
          <pc:docMk/>
          <pc:sldMk cId="572433017" sldId="970"/>
        </pc:sldMkLst>
        <pc:spChg chg="add del">
          <ac:chgData name="Casey Mullen" userId="615adb39-d18b-4c1c-ae7a-6cece5c624ca" providerId="ADAL" clId="{879D8575-D9EF-467B-924E-C3696263FF09}" dt="2020-02-20T15:20:26.018" v="2706" actId="478"/>
          <ac:spMkLst>
            <pc:docMk/>
            <pc:sldMk cId="572433017" sldId="970"/>
            <ac:spMk id="6" creationId="{7EBE3EC3-51A4-4922-AA9C-1535D78E4408}"/>
          </ac:spMkLst>
        </pc:spChg>
        <pc:spChg chg="add del">
          <ac:chgData name="Casey Mullen" userId="615adb39-d18b-4c1c-ae7a-6cece5c624ca" providerId="ADAL" clId="{879D8575-D9EF-467B-924E-C3696263FF09}" dt="2020-02-20T15:20:26.018" v="2706" actId="478"/>
          <ac:spMkLst>
            <pc:docMk/>
            <pc:sldMk cId="572433017" sldId="970"/>
            <ac:spMk id="7" creationId="{C60EF607-E4A6-47AB-9E84-A02899590C63}"/>
          </ac:spMkLst>
        </pc:spChg>
        <pc:spChg chg="add del">
          <ac:chgData name="Casey Mullen" userId="615adb39-d18b-4c1c-ae7a-6cece5c624ca" providerId="ADAL" clId="{879D8575-D9EF-467B-924E-C3696263FF09}" dt="2020-02-20T15:20:26.018" v="2706" actId="478"/>
          <ac:spMkLst>
            <pc:docMk/>
            <pc:sldMk cId="572433017" sldId="970"/>
            <ac:spMk id="8" creationId="{D82276BD-D1A1-4745-95B5-4232D9C36B84}"/>
          </ac:spMkLst>
        </pc:spChg>
        <pc:spChg chg="add del">
          <ac:chgData name="Casey Mullen" userId="615adb39-d18b-4c1c-ae7a-6cece5c624ca" providerId="ADAL" clId="{879D8575-D9EF-467B-924E-C3696263FF09}" dt="2020-02-20T15:20:26.018" v="2706" actId="478"/>
          <ac:spMkLst>
            <pc:docMk/>
            <pc:sldMk cId="572433017" sldId="970"/>
            <ac:spMk id="9" creationId="{BC428777-8D35-4142-B845-E2D9FA4A83F0}"/>
          </ac:spMkLst>
        </pc:spChg>
        <pc:spChg chg="add del">
          <ac:chgData name="Casey Mullen" userId="615adb39-d18b-4c1c-ae7a-6cece5c624ca" providerId="ADAL" clId="{879D8575-D9EF-467B-924E-C3696263FF09}" dt="2020-02-20T15:20:26.018" v="2706" actId="478"/>
          <ac:spMkLst>
            <pc:docMk/>
            <pc:sldMk cId="572433017" sldId="970"/>
            <ac:spMk id="10" creationId="{E681DE99-DE61-434E-A4A1-1AAD52E06E5B}"/>
          </ac:spMkLst>
        </pc:spChg>
        <pc:spChg chg="add del">
          <ac:chgData name="Casey Mullen" userId="615adb39-d18b-4c1c-ae7a-6cece5c624ca" providerId="ADAL" clId="{879D8575-D9EF-467B-924E-C3696263FF09}" dt="2020-02-20T15:20:26.018" v="2706" actId="478"/>
          <ac:spMkLst>
            <pc:docMk/>
            <pc:sldMk cId="572433017" sldId="970"/>
            <ac:spMk id="11" creationId="{8026ED18-FE03-422E-A6E6-3A188661069B}"/>
          </ac:spMkLst>
        </pc:spChg>
        <pc:spChg chg="add del">
          <ac:chgData name="Casey Mullen" userId="615adb39-d18b-4c1c-ae7a-6cece5c624ca" providerId="ADAL" clId="{879D8575-D9EF-467B-924E-C3696263FF09}" dt="2020-02-20T15:20:26.018" v="2706" actId="478"/>
          <ac:spMkLst>
            <pc:docMk/>
            <pc:sldMk cId="572433017" sldId="970"/>
            <ac:spMk id="12" creationId="{4E3C534D-808E-4BC7-AF66-F61C84971478}"/>
          </ac:spMkLst>
        </pc:spChg>
        <pc:spChg chg="add del">
          <ac:chgData name="Casey Mullen" userId="615adb39-d18b-4c1c-ae7a-6cece5c624ca" providerId="ADAL" clId="{879D8575-D9EF-467B-924E-C3696263FF09}" dt="2020-02-20T15:20:26.018" v="2706" actId="478"/>
          <ac:spMkLst>
            <pc:docMk/>
            <pc:sldMk cId="572433017" sldId="970"/>
            <ac:spMk id="13" creationId="{561380AD-52E2-46CC-B290-299E6A288F6F}"/>
          </ac:spMkLst>
        </pc:spChg>
        <pc:spChg chg="add del">
          <ac:chgData name="Casey Mullen" userId="615adb39-d18b-4c1c-ae7a-6cece5c624ca" providerId="ADAL" clId="{879D8575-D9EF-467B-924E-C3696263FF09}" dt="2020-02-20T15:20:26.018" v="2706" actId="478"/>
          <ac:spMkLst>
            <pc:docMk/>
            <pc:sldMk cId="572433017" sldId="970"/>
            <ac:spMk id="14" creationId="{A15669D5-15C3-4705-A0AA-5C34C60137A9}"/>
          </ac:spMkLst>
        </pc:spChg>
        <pc:spChg chg="add del">
          <ac:chgData name="Casey Mullen" userId="615adb39-d18b-4c1c-ae7a-6cece5c624ca" providerId="ADAL" clId="{879D8575-D9EF-467B-924E-C3696263FF09}" dt="2020-02-20T15:20:26.018" v="2706" actId="478"/>
          <ac:spMkLst>
            <pc:docMk/>
            <pc:sldMk cId="572433017" sldId="970"/>
            <ac:spMk id="15" creationId="{7311E6C0-E670-4DA8-9E6C-1767E2B172C3}"/>
          </ac:spMkLst>
        </pc:spChg>
        <pc:spChg chg="add del mod">
          <ac:chgData name="Casey Mullen" userId="615adb39-d18b-4c1c-ae7a-6cece5c624ca" providerId="ADAL" clId="{879D8575-D9EF-467B-924E-C3696263FF09}" dt="2020-02-20T15:43:48.672" v="3153" actId="478"/>
          <ac:spMkLst>
            <pc:docMk/>
            <pc:sldMk cId="572433017" sldId="970"/>
            <ac:spMk id="17" creationId="{D2B86E7E-27D9-4180-AB33-78233521C83F}"/>
          </ac:spMkLst>
        </pc:spChg>
        <pc:spChg chg="add del mod">
          <ac:chgData name="Casey Mullen" userId="615adb39-d18b-4c1c-ae7a-6cece5c624ca" providerId="ADAL" clId="{879D8575-D9EF-467B-924E-C3696263FF09}" dt="2020-02-20T15:43:48.672" v="3153" actId="478"/>
          <ac:spMkLst>
            <pc:docMk/>
            <pc:sldMk cId="572433017" sldId="970"/>
            <ac:spMk id="18" creationId="{BA9C5432-A4ED-4B67-8096-E7F9B438D570}"/>
          </ac:spMkLst>
        </pc:spChg>
        <pc:spChg chg="add del mod">
          <ac:chgData name="Casey Mullen" userId="615adb39-d18b-4c1c-ae7a-6cece5c624ca" providerId="ADAL" clId="{879D8575-D9EF-467B-924E-C3696263FF09}" dt="2020-02-20T15:43:48.672" v="3153" actId="478"/>
          <ac:spMkLst>
            <pc:docMk/>
            <pc:sldMk cId="572433017" sldId="970"/>
            <ac:spMk id="19" creationId="{9654F6F2-B6B6-4FE9-AFAD-3A45E6A9BFEA}"/>
          </ac:spMkLst>
        </pc:spChg>
        <pc:spChg chg="add del mod">
          <ac:chgData name="Casey Mullen" userId="615adb39-d18b-4c1c-ae7a-6cece5c624ca" providerId="ADAL" clId="{879D8575-D9EF-467B-924E-C3696263FF09}" dt="2020-02-20T15:43:48.672" v="3153" actId="478"/>
          <ac:spMkLst>
            <pc:docMk/>
            <pc:sldMk cId="572433017" sldId="970"/>
            <ac:spMk id="20" creationId="{EF424C01-0B7A-481A-A1B1-5C559CF719CC}"/>
          </ac:spMkLst>
        </pc:spChg>
        <pc:spChg chg="add del mod">
          <ac:chgData name="Casey Mullen" userId="615adb39-d18b-4c1c-ae7a-6cece5c624ca" providerId="ADAL" clId="{879D8575-D9EF-467B-924E-C3696263FF09}" dt="2020-02-20T15:43:48.672" v="3153" actId="478"/>
          <ac:spMkLst>
            <pc:docMk/>
            <pc:sldMk cId="572433017" sldId="970"/>
            <ac:spMk id="21" creationId="{D3942BFE-0649-4746-B953-307E2BB71867}"/>
          </ac:spMkLst>
        </pc:spChg>
        <pc:spChg chg="add del mod">
          <ac:chgData name="Casey Mullen" userId="615adb39-d18b-4c1c-ae7a-6cece5c624ca" providerId="ADAL" clId="{879D8575-D9EF-467B-924E-C3696263FF09}" dt="2020-02-20T15:43:48.672" v="3153" actId="478"/>
          <ac:spMkLst>
            <pc:docMk/>
            <pc:sldMk cId="572433017" sldId="970"/>
            <ac:spMk id="22" creationId="{B898B360-B374-4A52-BA64-85852247E956}"/>
          </ac:spMkLst>
        </pc:spChg>
        <pc:spChg chg="add del mod">
          <ac:chgData name="Casey Mullen" userId="615adb39-d18b-4c1c-ae7a-6cece5c624ca" providerId="ADAL" clId="{879D8575-D9EF-467B-924E-C3696263FF09}" dt="2020-02-20T15:43:48.672" v="3153" actId="478"/>
          <ac:spMkLst>
            <pc:docMk/>
            <pc:sldMk cId="572433017" sldId="970"/>
            <ac:spMk id="23" creationId="{3B3460AD-10F3-4558-9372-359AB2F06E12}"/>
          </ac:spMkLst>
        </pc:spChg>
        <pc:spChg chg="add del mod">
          <ac:chgData name="Casey Mullen" userId="615adb39-d18b-4c1c-ae7a-6cece5c624ca" providerId="ADAL" clId="{879D8575-D9EF-467B-924E-C3696263FF09}" dt="2020-02-20T15:43:48.672" v="3153" actId="478"/>
          <ac:spMkLst>
            <pc:docMk/>
            <pc:sldMk cId="572433017" sldId="970"/>
            <ac:spMk id="24" creationId="{551AB407-52E0-4C1F-9635-13CE0549E677}"/>
          </ac:spMkLst>
        </pc:spChg>
        <pc:spChg chg="add del mod">
          <ac:chgData name="Casey Mullen" userId="615adb39-d18b-4c1c-ae7a-6cece5c624ca" providerId="ADAL" clId="{879D8575-D9EF-467B-924E-C3696263FF09}" dt="2020-02-20T15:43:48.672" v="3153" actId="478"/>
          <ac:spMkLst>
            <pc:docMk/>
            <pc:sldMk cId="572433017" sldId="970"/>
            <ac:spMk id="25" creationId="{60B52D66-94B2-44D8-8A5A-388D3E35B3A3}"/>
          </ac:spMkLst>
        </pc:spChg>
        <pc:spChg chg="add del mod">
          <ac:chgData name="Casey Mullen" userId="615adb39-d18b-4c1c-ae7a-6cece5c624ca" providerId="ADAL" clId="{879D8575-D9EF-467B-924E-C3696263FF09}" dt="2020-02-20T15:43:48.672" v="3153" actId="478"/>
          <ac:spMkLst>
            <pc:docMk/>
            <pc:sldMk cId="572433017" sldId="970"/>
            <ac:spMk id="26" creationId="{F31B2A14-EB22-4E60-B863-FCB6CF8B9C03}"/>
          </ac:spMkLst>
        </pc:spChg>
        <pc:spChg chg="add del mod">
          <ac:chgData name="Casey Mullen" userId="615adb39-d18b-4c1c-ae7a-6cece5c624ca" providerId="ADAL" clId="{879D8575-D9EF-467B-924E-C3696263FF09}" dt="2020-02-20T15:43:48.672" v="3153" actId="478"/>
          <ac:spMkLst>
            <pc:docMk/>
            <pc:sldMk cId="572433017" sldId="970"/>
            <ac:spMk id="27" creationId="{4A4F96C5-99EF-4644-96DB-67B8F3D2FCC0}"/>
          </ac:spMkLst>
        </pc:spChg>
        <pc:grpChg chg="add mod">
          <ac:chgData name="Casey Mullen" userId="615adb39-d18b-4c1c-ae7a-6cece5c624ca" providerId="ADAL" clId="{879D8575-D9EF-467B-924E-C3696263FF09}" dt="2020-02-20T15:38:43.594" v="3085" actId="1076"/>
          <ac:grpSpMkLst>
            <pc:docMk/>
            <pc:sldMk cId="572433017" sldId="970"/>
            <ac:grpSpMk id="3" creationId="{26F5DEBD-2643-4267-B302-36E731BD1B2F}"/>
          </ac:grpSpMkLst>
        </pc:grpChg>
        <pc:picChg chg="mod">
          <ac:chgData name="Casey Mullen" userId="615adb39-d18b-4c1c-ae7a-6cece5c624ca" providerId="ADAL" clId="{879D8575-D9EF-467B-924E-C3696263FF09}" dt="2020-02-20T15:20:05.245" v="2700" actId="164"/>
          <ac:picMkLst>
            <pc:docMk/>
            <pc:sldMk cId="572433017" sldId="970"/>
            <ac:picMk id="4" creationId="{9A3D4070-537E-4201-B68F-E0EB3DAEEE07}"/>
          </ac:picMkLst>
        </pc:picChg>
        <pc:picChg chg="mod">
          <ac:chgData name="Casey Mullen" userId="615adb39-d18b-4c1c-ae7a-6cece5c624ca" providerId="ADAL" clId="{879D8575-D9EF-467B-924E-C3696263FF09}" dt="2020-02-20T15:20:05.245" v="2700" actId="164"/>
          <ac:picMkLst>
            <pc:docMk/>
            <pc:sldMk cId="572433017" sldId="970"/>
            <ac:picMk id="5" creationId="{0B6B8852-65A4-443F-B988-C40ECC999356}"/>
          </ac:picMkLst>
        </pc:picChg>
        <pc:picChg chg="add mod">
          <ac:chgData name="Casey Mullen" userId="615adb39-d18b-4c1c-ae7a-6cece5c624ca" providerId="ADAL" clId="{879D8575-D9EF-467B-924E-C3696263FF09}" dt="2020-02-20T15:39:17.203" v="3091" actId="1076"/>
          <ac:picMkLst>
            <pc:docMk/>
            <pc:sldMk cId="572433017" sldId="970"/>
            <ac:picMk id="28" creationId="{4568E248-0C0D-4129-B5B2-F76266473101}"/>
          </ac:picMkLst>
        </pc:picChg>
        <pc:picChg chg="add del mod">
          <ac:chgData name="Casey Mullen" userId="615adb39-d18b-4c1c-ae7a-6cece5c624ca" providerId="ADAL" clId="{879D8575-D9EF-467B-924E-C3696263FF09}" dt="2020-02-20T15:43:14.137" v="3137"/>
          <ac:picMkLst>
            <pc:docMk/>
            <pc:sldMk cId="572433017" sldId="970"/>
            <ac:picMk id="5122" creationId="{6E722F41-3ADF-4C76-B6F0-ADB36C516D00}"/>
          </ac:picMkLst>
        </pc:picChg>
        <pc:picChg chg="add mod">
          <ac:chgData name="Casey Mullen" userId="615adb39-d18b-4c1c-ae7a-6cece5c624ca" providerId="ADAL" clId="{879D8575-D9EF-467B-924E-C3696263FF09}" dt="2020-02-20T15:44:14.090" v="3157" actId="1076"/>
          <ac:picMkLst>
            <pc:docMk/>
            <pc:sldMk cId="572433017" sldId="970"/>
            <ac:picMk id="5124" creationId="{76D2B5B7-9540-4FB0-AFAB-73BD33186452}"/>
          </ac:picMkLst>
        </pc:picChg>
      </pc:sldChg>
      <pc:sldChg chg="addSp delSp modSp add modAnim">
        <pc:chgData name="Casey Mullen" userId="615adb39-d18b-4c1c-ae7a-6cece5c624ca" providerId="ADAL" clId="{879D8575-D9EF-467B-924E-C3696263FF09}" dt="2020-02-21T15:35:28.556" v="4089" actId="14100"/>
        <pc:sldMkLst>
          <pc:docMk/>
          <pc:sldMk cId="2373717886" sldId="971"/>
        </pc:sldMkLst>
        <pc:spChg chg="add ord">
          <ac:chgData name="Casey Mullen" userId="615adb39-d18b-4c1c-ae7a-6cece5c624ca" providerId="ADAL" clId="{879D8575-D9EF-467B-924E-C3696263FF09}" dt="2020-02-20T15:30:27.023" v="2994" actId="167"/>
          <ac:spMkLst>
            <pc:docMk/>
            <pc:sldMk cId="2373717886" sldId="971"/>
            <ac:spMk id="72" creationId="{2491D9D8-A26F-40BC-8432-706BE95762DE}"/>
          </ac:spMkLst>
        </pc:spChg>
        <pc:spChg chg="add ord">
          <ac:chgData name="Casey Mullen" userId="615adb39-d18b-4c1c-ae7a-6cece5c624ca" providerId="ADAL" clId="{879D8575-D9EF-467B-924E-C3696263FF09}" dt="2020-02-20T15:30:27.023" v="2994" actId="167"/>
          <ac:spMkLst>
            <pc:docMk/>
            <pc:sldMk cId="2373717886" sldId="971"/>
            <ac:spMk id="79" creationId="{B1B4A94B-4328-43F3-97B2-FD53C177EF46}"/>
          </ac:spMkLst>
        </pc:spChg>
        <pc:spChg chg="add mod">
          <ac:chgData name="Casey Mullen" userId="615adb39-d18b-4c1c-ae7a-6cece5c624ca" providerId="ADAL" clId="{879D8575-D9EF-467B-924E-C3696263FF09}" dt="2020-02-20T15:31:21.972" v="3001" actId="14100"/>
          <ac:spMkLst>
            <pc:docMk/>
            <pc:sldMk cId="2373717886" sldId="971"/>
            <ac:spMk id="80" creationId="{C2C5EE11-1ED8-40E0-BBD0-9BF555D7AC7D}"/>
          </ac:spMkLst>
        </pc:spChg>
        <pc:spChg chg="mod">
          <ac:chgData name="Casey Mullen" userId="615adb39-d18b-4c1c-ae7a-6cece5c624ca" providerId="ADAL" clId="{879D8575-D9EF-467B-924E-C3696263FF09}" dt="2020-02-20T15:31:34.592" v="3002" actId="14100"/>
          <ac:spMkLst>
            <pc:docMk/>
            <pc:sldMk cId="2373717886" sldId="971"/>
            <ac:spMk id="96" creationId="{EC8B4BB4-4741-4411-8F84-2A016DE864DA}"/>
          </ac:spMkLst>
        </pc:spChg>
        <pc:spChg chg="mod">
          <ac:chgData name="Casey Mullen" userId="615adb39-d18b-4c1c-ae7a-6cece5c624ca" providerId="ADAL" clId="{879D8575-D9EF-467B-924E-C3696263FF09}" dt="2020-02-20T15:43:23.512" v="3145" actId="14100"/>
          <ac:spMkLst>
            <pc:docMk/>
            <pc:sldMk cId="2373717886" sldId="971"/>
            <ac:spMk id="159" creationId="{6DB32D40-5ABB-40C2-86F8-8E71898B712E}"/>
          </ac:spMkLst>
        </pc:spChg>
        <pc:spChg chg="mod">
          <ac:chgData name="Casey Mullen" userId="615adb39-d18b-4c1c-ae7a-6cece5c624ca" providerId="ADAL" clId="{879D8575-D9EF-467B-924E-C3696263FF09}" dt="2020-02-20T15:43:24.064" v="3146" actId="1076"/>
          <ac:spMkLst>
            <pc:docMk/>
            <pc:sldMk cId="2373717886" sldId="971"/>
            <ac:spMk id="163" creationId="{B963FA65-ECEF-462F-A658-C53CF5BEF88A}"/>
          </ac:spMkLst>
        </pc:spChg>
        <pc:spChg chg="del">
          <ac:chgData name="Casey Mullen" userId="615adb39-d18b-4c1c-ae7a-6cece5c624ca" providerId="ADAL" clId="{879D8575-D9EF-467B-924E-C3696263FF09}" dt="2020-02-20T15:30:21.566" v="2992" actId="478"/>
          <ac:spMkLst>
            <pc:docMk/>
            <pc:sldMk cId="2373717886" sldId="971"/>
            <ac:spMk id="186" creationId="{0D01F048-46A8-4B17-9C16-5C5EED590C16}"/>
          </ac:spMkLst>
        </pc:spChg>
        <pc:spChg chg="mod">
          <ac:chgData name="Casey Mullen" userId="615adb39-d18b-4c1c-ae7a-6cece5c624ca" providerId="ADAL" clId="{879D8575-D9EF-467B-924E-C3696263FF09}" dt="2020-02-20T15:29:10.884" v="2964" actId="1076"/>
          <ac:spMkLst>
            <pc:docMk/>
            <pc:sldMk cId="2373717886" sldId="971"/>
            <ac:spMk id="188" creationId="{B7C336DA-7CCF-4B41-9474-CF4855EAEC6D}"/>
          </ac:spMkLst>
        </pc:spChg>
        <pc:spChg chg="mod">
          <ac:chgData name="Casey Mullen" userId="615adb39-d18b-4c1c-ae7a-6cece5c624ca" providerId="ADAL" clId="{879D8575-D9EF-467B-924E-C3696263FF09}" dt="2020-02-21T15:35:28.556" v="4089" actId="14100"/>
          <ac:spMkLst>
            <pc:docMk/>
            <pc:sldMk cId="2373717886" sldId="971"/>
            <ac:spMk id="189" creationId="{348B2574-7CEF-4B92-8BF5-38AEB17C4613}"/>
          </ac:spMkLst>
        </pc:spChg>
        <pc:grpChg chg="add mod">
          <ac:chgData name="Casey Mullen" userId="615adb39-d18b-4c1c-ae7a-6cece5c624ca" providerId="ADAL" clId="{879D8575-D9EF-467B-924E-C3696263FF09}" dt="2020-02-20T15:28:45.975" v="2963" actId="1037"/>
          <ac:grpSpMkLst>
            <pc:docMk/>
            <pc:sldMk cId="2373717886" sldId="971"/>
            <ac:grpSpMk id="65" creationId="{6004D65D-196B-4F43-84BA-620E9F9B9044}"/>
          </ac:grpSpMkLst>
        </pc:grpChg>
        <pc:grpChg chg="add mod">
          <ac:chgData name="Casey Mullen" userId="615adb39-d18b-4c1c-ae7a-6cece5c624ca" providerId="ADAL" clId="{879D8575-D9EF-467B-924E-C3696263FF09}" dt="2020-02-20T15:28:45.975" v="2963" actId="1037"/>
          <ac:grpSpMkLst>
            <pc:docMk/>
            <pc:sldMk cId="2373717886" sldId="971"/>
            <ac:grpSpMk id="69" creationId="{EE1A602D-36FB-4173-B5F9-4C76CEA63C88}"/>
          </ac:grpSpMkLst>
        </pc:grpChg>
        <pc:grpChg chg="add ord">
          <ac:chgData name="Casey Mullen" userId="615adb39-d18b-4c1c-ae7a-6cece5c624ca" providerId="ADAL" clId="{879D8575-D9EF-467B-924E-C3696263FF09}" dt="2020-02-20T15:30:27.023" v="2994" actId="167"/>
          <ac:grpSpMkLst>
            <pc:docMk/>
            <pc:sldMk cId="2373717886" sldId="971"/>
            <ac:grpSpMk id="73" creationId="{56CA7EF7-32EF-4F48-8D6F-E31D75EA6649}"/>
          </ac:grpSpMkLst>
        </pc:grpChg>
        <pc:grpChg chg="add ord">
          <ac:chgData name="Casey Mullen" userId="615adb39-d18b-4c1c-ae7a-6cece5c624ca" providerId="ADAL" clId="{879D8575-D9EF-467B-924E-C3696263FF09}" dt="2020-02-20T15:30:27.023" v="2994" actId="167"/>
          <ac:grpSpMkLst>
            <pc:docMk/>
            <pc:sldMk cId="2373717886" sldId="971"/>
            <ac:grpSpMk id="76" creationId="{80500B3E-2F3A-43E3-B474-552CACF64EE3}"/>
          </ac:grpSpMkLst>
        </pc:grpChg>
        <pc:grpChg chg="add mod">
          <ac:chgData name="Casey Mullen" userId="615adb39-d18b-4c1c-ae7a-6cece5c624ca" providerId="ADAL" clId="{879D8575-D9EF-467B-924E-C3696263FF09}" dt="2020-02-20T15:31:50.621" v="3003" actId="12788"/>
          <ac:grpSpMkLst>
            <pc:docMk/>
            <pc:sldMk cId="2373717886" sldId="971"/>
            <ac:grpSpMk id="81" creationId="{B1BB692C-19B2-45B4-9099-5E44FD69EE0F}"/>
          </ac:grpSpMkLst>
        </pc:grpChg>
        <pc:grpChg chg="mod">
          <ac:chgData name="Casey Mullen" userId="615adb39-d18b-4c1c-ae7a-6cece5c624ca" providerId="ADAL" clId="{879D8575-D9EF-467B-924E-C3696263FF09}" dt="2020-02-20T15:31:50.621" v="3003" actId="12788"/>
          <ac:grpSpMkLst>
            <pc:docMk/>
            <pc:sldMk cId="2373717886" sldId="971"/>
            <ac:grpSpMk id="98" creationId="{65BF5C0C-67E3-4232-AFF6-6C04FC45275A}"/>
          </ac:grpSpMkLst>
        </pc:grpChg>
        <pc:grpChg chg="mod">
          <ac:chgData name="Casey Mullen" userId="615adb39-d18b-4c1c-ae7a-6cece5c624ca" providerId="ADAL" clId="{879D8575-D9EF-467B-924E-C3696263FF09}" dt="2020-02-20T15:31:50.621" v="3003" actId="12788"/>
          <ac:grpSpMkLst>
            <pc:docMk/>
            <pc:sldMk cId="2373717886" sldId="971"/>
            <ac:grpSpMk id="110" creationId="{BF15EF83-9044-4620-9A66-A8E977A04FC6}"/>
          </ac:grpSpMkLst>
        </pc:grpChg>
        <pc:grpChg chg="mod">
          <ac:chgData name="Casey Mullen" userId="615adb39-d18b-4c1c-ae7a-6cece5c624ca" providerId="ADAL" clId="{879D8575-D9EF-467B-924E-C3696263FF09}" dt="2020-02-20T15:28:45.975" v="2963" actId="1037"/>
          <ac:grpSpMkLst>
            <pc:docMk/>
            <pc:sldMk cId="2373717886" sldId="971"/>
            <ac:grpSpMk id="114" creationId="{79A52B82-04E0-417D-8061-C052112563B8}"/>
          </ac:grpSpMkLst>
        </pc:grpChg>
        <pc:grpChg chg="mod">
          <ac:chgData name="Casey Mullen" userId="615adb39-d18b-4c1c-ae7a-6cece5c624ca" providerId="ADAL" clId="{879D8575-D9EF-467B-924E-C3696263FF09}" dt="2020-02-20T15:31:50.621" v="3003" actId="12788"/>
          <ac:grpSpMkLst>
            <pc:docMk/>
            <pc:sldMk cId="2373717886" sldId="971"/>
            <ac:grpSpMk id="123" creationId="{C2530312-EE3C-406F-ABA0-2716E4DF9852}"/>
          </ac:grpSpMkLst>
        </pc:grpChg>
        <pc:grpChg chg="mod">
          <ac:chgData name="Casey Mullen" userId="615adb39-d18b-4c1c-ae7a-6cece5c624ca" providerId="ADAL" clId="{879D8575-D9EF-467B-924E-C3696263FF09}" dt="2020-02-20T15:31:50.621" v="3003" actId="12788"/>
          <ac:grpSpMkLst>
            <pc:docMk/>
            <pc:sldMk cId="2373717886" sldId="971"/>
            <ac:grpSpMk id="127" creationId="{70C089F6-E737-4CDC-9883-18F8760F95A8}"/>
          </ac:grpSpMkLst>
        </pc:grpChg>
        <pc:grpChg chg="del">
          <ac:chgData name="Casey Mullen" userId="615adb39-d18b-4c1c-ae7a-6cece5c624ca" providerId="ADAL" clId="{879D8575-D9EF-467B-924E-C3696263FF09}" dt="2020-02-20T15:28:11.580" v="2932" actId="478"/>
          <ac:grpSpMkLst>
            <pc:docMk/>
            <pc:sldMk cId="2373717886" sldId="971"/>
            <ac:grpSpMk id="139" creationId="{193E9A6D-F4B3-4B69-9C7B-1E33FE412E01}"/>
          </ac:grpSpMkLst>
        </pc:grpChg>
        <pc:grpChg chg="mod">
          <ac:chgData name="Casey Mullen" userId="615adb39-d18b-4c1c-ae7a-6cece5c624ca" providerId="ADAL" clId="{879D8575-D9EF-467B-924E-C3696263FF09}" dt="2020-02-20T15:31:50.621" v="3003" actId="12788"/>
          <ac:grpSpMkLst>
            <pc:docMk/>
            <pc:sldMk cId="2373717886" sldId="971"/>
            <ac:grpSpMk id="150" creationId="{A52C2488-C8EE-4CA0-B598-240EAE9FF8D3}"/>
          </ac:grpSpMkLst>
        </pc:grpChg>
        <pc:grpChg chg="mod">
          <ac:chgData name="Casey Mullen" userId="615adb39-d18b-4c1c-ae7a-6cece5c624ca" providerId="ADAL" clId="{879D8575-D9EF-467B-924E-C3696263FF09}" dt="2020-02-20T15:28:45.975" v="2963" actId="1037"/>
          <ac:grpSpMkLst>
            <pc:docMk/>
            <pc:sldMk cId="2373717886" sldId="971"/>
            <ac:grpSpMk id="168" creationId="{69CA9469-8603-415A-B828-8A3800886D3B}"/>
          </ac:grpSpMkLst>
        </pc:grpChg>
        <pc:grpChg chg="mod">
          <ac:chgData name="Casey Mullen" userId="615adb39-d18b-4c1c-ae7a-6cece5c624ca" providerId="ADAL" clId="{879D8575-D9EF-467B-924E-C3696263FF09}" dt="2020-02-20T15:28:45.975" v="2963" actId="1037"/>
          <ac:grpSpMkLst>
            <pc:docMk/>
            <pc:sldMk cId="2373717886" sldId="971"/>
            <ac:grpSpMk id="171" creationId="{613E1255-E8E7-4AB8-8834-915CE63AEC1C}"/>
          </ac:grpSpMkLst>
        </pc:grpChg>
        <pc:grpChg chg="del">
          <ac:chgData name="Casey Mullen" userId="615adb39-d18b-4c1c-ae7a-6cece5c624ca" providerId="ADAL" clId="{879D8575-D9EF-467B-924E-C3696263FF09}" dt="2020-02-20T15:28:11.580" v="2932" actId="478"/>
          <ac:grpSpMkLst>
            <pc:docMk/>
            <pc:sldMk cId="2373717886" sldId="971"/>
            <ac:grpSpMk id="177" creationId="{D40DB1B1-2832-4C1F-80E0-59EA55708867}"/>
          </ac:grpSpMkLst>
        </pc:grpChg>
        <pc:grpChg chg="del">
          <ac:chgData name="Casey Mullen" userId="615adb39-d18b-4c1c-ae7a-6cece5c624ca" providerId="ADAL" clId="{879D8575-D9EF-467B-924E-C3696263FF09}" dt="2020-02-20T15:30:21.566" v="2992" actId="478"/>
          <ac:grpSpMkLst>
            <pc:docMk/>
            <pc:sldMk cId="2373717886" sldId="971"/>
            <ac:grpSpMk id="180" creationId="{15BEE63B-0D22-43B3-BE23-462E89A45D61}"/>
          </ac:grpSpMkLst>
        </pc:grpChg>
        <pc:grpChg chg="del">
          <ac:chgData name="Casey Mullen" userId="615adb39-d18b-4c1c-ae7a-6cece5c624ca" providerId="ADAL" clId="{879D8575-D9EF-467B-924E-C3696263FF09}" dt="2020-02-20T15:30:21.566" v="2992" actId="478"/>
          <ac:grpSpMkLst>
            <pc:docMk/>
            <pc:sldMk cId="2373717886" sldId="971"/>
            <ac:grpSpMk id="183" creationId="{9281F490-FC6A-4A7A-B39D-778A7305BFEB}"/>
          </ac:grpSpMkLst>
        </pc:grpChg>
        <pc:picChg chg="mod">
          <ac:chgData name="Casey Mullen" userId="615adb39-d18b-4c1c-ae7a-6cece5c624ca" providerId="ADAL" clId="{879D8575-D9EF-467B-924E-C3696263FF09}" dt="2020-02-20T15:29:10.884" v="2964" actId="1076"/>
          <ac:picMkLst>
            <pc:docMk/>
            <pc:sldMk cId="2373717886" sldId="971"/>
            <ac:picMk id="187" creationId="{92C37B3E-D712-4C26-BC92-918BE03B030A}"/>
          </ac:picMkLst>
        </pc:picChg>
        <pc:cxnChg chg="mod">
          <ac:chgData name="Casey Mullen" userId="615adb39-d18b-4c1c-ae7a-6cece5c624ca" providerId="ADAL" clId="{879D8575-D9EF-467B-924E-C3696263FF09}" dt="2020-02-20T15:31:50.621" v="3003" actId="12788"/>
          <ac:cxnSpMkLst>
            <pc:docMk/>
            <pc:sldMk cId="2373717886" sldId="971"/>
            <ac:cxnSpMk id="154" creationId="{5DD763CD-EA1E-47D0-AED7-371CF3DFD81F}"/>
          </ac:cxnSpMkLst>
        </pc:cxnChg>
      </pc:sldChg>
      <pc:sldChg chg="addSp delSp modSp add modTransition modAnim">
        <pc:chgData name="Casey Mullen" userId="615adb39-d18b-4c1c-ae7a-6cece5c624ca" providerId="ADAL" clId="{879D8575-D9EF-467B-924E-C3696263FF09}" dt="2020-02-20T19:54:06.497" v="3314"/>
        <pc:sldMkLst>
          <pc:docMk/>
          <pc:sldMk cId="1105999821" sldId="972"/>
        </pc:sldMkLst>
        <pc:spChg chg="del">
          <ac:chgData name="Casey Mullen" userId="615adb39-d18b-4c1c-ae7a-6cece5c624ca" providerId="ADAL" clId="{879D8575-D9EF-467B-924E-C3696263FF09}" dt="2020-02-20T15:37:52.559" v="3038" actId="478"/>
          <ac:spMkLst>
            <pc:docMk/>
            <pc:sldMk cId="1105999821" sldId="972"/>
            <ac:spMk id="17" creationId="{D2B86E7E-27D9-4180-AB33-78233521C83F}"/>
          </ac:spMkLst>
        </pc:spChg>
        <pc:spChg chg="del">
          <ac:chgData name="Casey Mullen" userId="615adb39-d18b-4c1c-ae7a-6cece5c624ca" providerId="ADAL" clId="{879D8575-D9EF-467B-924E-C3696263FF09}" dt="2020-02-20T15:37:52.559" v="3038" actId="478"/>
          <ac:spMkLst>
            <pc:docMk/>
            <pc:sldMk cId="1105999821" sldId="972"/>
            <ac:spMk id="18" creationId="{BA9C5432-A4ED-4B67-8096-E7F9B438D570}"/>
          </ac:spMkLst>
        </pc:spChg>
        <pc:spChg chg="del">
          <ac:chgData name="Casey Mullen" userId="615adb39-d18b-4c1c-ae7a-6cece5c624ca" providerId="ADAL" clId="{879D8575-D9EF-467B-924E-C3696263FF09}" dt="2020-02-20T15:37:52.559" v="3038" actId="478"/>
          <ac:spMkLst>
            <pc:docMk/>
            <pc:sldMk cId="1105999821" sldId="972"/>
            <ac:spMk id="19" creationId="{9654F6F2-B6B6-4FE9-AFAD-3A45E6A9BFEA}"/>
          </ac:spMkLst>
        </pc:spChg>
        <pc:spChg chg="del">
          <ac:chgData name="Casey Mullen" userId="615adb39-d18b-4c1c-ae7a-6cece5c624ca" providerId="ADAL" clId="{879D8575-D9EF-467B-924E-C3696263FF09}" dt="2020-02-20T15:37:52.559" v="3038" actId="478"/>
          <ac:spMkLst>
            <pc:docMk/>
            <pc:sldMk cId="1105999821" sldId="972"/>
            <ac:spMk id="20" creationId="{EF424C01-0B7A-481A-A1B1-5C559CF719CC}"/>
          </ac:spMkLst>
        </pc:spChg>
        <pc:spChg chg="del">
          <ac:chgData name="Casey Mullen" userId="615adb39-d18b-4c1c-ae7a-6cece5c624ca" providerId="ADAL" clId="{879D8575-D9EF-467B-924E-C3696263FF09}" dt="2020-02-20T15:37:52.559" v="3038" actId="478"/>
          <ac:spMkLst>
            <pc:docMk/>
            <pc:sldMk cId="1105999821" sldId="972"/>
            <ac:spMk id="21" creationId="{D3942BFE-0649-4746-B953-307E2BB71867}"/>
          </ac:spMkLst>
        </pc:spChg>
        <pc:spChg chg="del">
          <ac:chgData name="Casey Mullen" userId="615adb39-d18b-4c1c-ae7a-6cece5c624ca" providerId="ADAL" clId="{879D8575-D9EF-467B-924E-C3696263FF09}" dt="2020-02-20T15:37:52.559" v="3038" actId="478"/>
          <ac:spMkLst>
            <pc:docMk/>
            <pc:sldMk cId="1105999821" sldId="972"/>
            <ac:spMk id="22" creationId="{B898B360-B374-4A52-BA64-85852247E956}"/>
          </ac:spMkLst>
        </pc:spChg>
        <pc:spChg chg="del">
          <ac:chgData name="Casey Mullen" userId="615adb39-d18b-4c1c-ae7a-6cece5c624ca" providerId="ADAL" clId="{879D8575-D9EF-467B-924E-C3696263FF09}" dt="2020-02-20T15:37:52.559" v="3038" actId="478"/>
          <ac:spMkLst>
            <pc:docMk/>
            <pc:sldMk cId="1105999821" sldId="972"/>
            <ac:spMk id="23" creationId="{3B3460AD-10F3-4558-9372-359AB2F06E12}"/>
          </ac:spMkLst>
        </pc:spChg>
        <pc:spChg chg="del">
          <ac:chgData name="Casey Mullen" userId="615adb39-d18b-4c1c-ae7a-6cece5c624ca" providerId="ADAL" clId="{879D8575-D9EF-467B-924E-C3696263FF09}" dt="2020-02-20T15:37:52.559" v="3038" actId="478"/>
          <ac:spMkLst>
            <pc:docMk/>
            <pc:sldMk cId="1105999821" sldId="972"/>
            <ac:spMk id="24" creationId="{551AB407-52E0-4C1F-9635-13CE0549E677}"/>
          </ac:spMkLst>
        </pc:spChg>
        <pc:spChg chg="del">
          <ac:chgData name="Casey Mullen" userId="615adb39-d18b-4c1c-ae7a-6cece5c624ca" providerId="ADAL" clId="{879D8575-D9EF-467B-924E-C3696263FF09}" dt="2020-02-20T15:37:52.559" v="3038" actId="478"/>
          <ac:spMkLst>
            <pc:docMk/>
            <pc:sldMk cId="1105999821" sldId="972"/>
            <ac:spMk id="25" creationId="{60B52D66-94B2-44D8-8A5A-388D3E35B3A3}"/>
          </ac:spMkLst>
        </pc:spChg>
        <pc:spChg chg="del">
          <ac:chgData name="Casey Mullen" userId="615adb39-d18b-4c1c-ae7a-6cece5c624ca" providerId="ADAL" clId="{879D8575-D9EF-467B-924E-C3696263FF09}" dt="2020-02-20T15:37:52.559" v="3038" actId="478"/>
          <ac:spMkLst>
            <pc:docMk/>
            <pc:sldMk cId="1105999821" sldId="972"/>
            <ac:spMk id="26" creationId="{F31B2A14-EB22-4E60-B863-FCB6CF8B9C03}"/>
          </ac:spMkLst>
        </pc:spChg>
        <pc:spChg chg="del">
          <ac:chgData name="Casey Mullen" userId="615adb39-d18b-4c1c-ae7a-6cece5c624ca" providerId="ADAL" clId="{879D8575-D9EF-467B-924E-C3696263FF09}" dt="2020-02-20T15:37:52.559" v="3038" actId="478"/>
          <ac:spMkLst>
            <pc:docMk/>
            <pc:sldMk cId="1105999821" sldId="972"/>
            <ac:spMk id="27" creationId="{4A4F96C5-99EF-4644-96DB-67B8F3D2FCC0}"/>
          </ac:spMkLst>
        </pc:spChg>
        <pc:grpChg chg="mod">
          <ac:chgData name="Casey Mullen" userId="615adb39-d18b-4c1c-ae7a-6cece5c624ca" providerId="ADAL" clId="{879D8575-D9EF-467B-924E-C3696263FF09}" dt="2020-02-20T15:38:13.645" v="3083" actId="1038"/>
          <ac:grpSpMkLst>
            <pc:docMk/>
            <pc:sldMk cId="1105999821" sldId="972"/>
            <ac:grpSpMk id="3" creationId="{26F5DEBD-2643-4267-B302-36E731BD1B2F}"/>
          </ac:grpSpMkLst>
        </pc:grpChg>
        <pc:picChg chg="add mod">
          <ac:chgData name="Casey Mullen" userId="615adb39-d18b-4c1c-ae7a-6cece5c624ca" providerId="ADAL" clId="{879D8575-D9EF-467B-924E-C3696263FF09}" dt="2020-02-20T15:38:01.326" v="3040" actId="1076"/>
          <ac:picMkLst>
            <pc:docMk/>
            <pc:sldMk cId="1105999821" sldId="972"/>
            <ac:picMk id="3074" creationId="{6FE7FED5-6D76-472C-82A2-4642BD193318}"/>
          </ac:picMkLst>
        </pc:picChg>
      </pc:sldChg>
      <pc:sldChg chg="add del">
        <pc:chgData name="Casey Mullen" userId="615adb39-d18b-4c1c-ae7a-6cece5c624ca" providerId="ADAL" clId="{879D8575-D9EF-467B-924E-C3696263FF09}" dt="2020-02-20T15:43:14.735" v="3139"/>
        <pc:sldMkLst>
          <pc:docMk/>
          <pc:sldMk cId="562433242" sldId="973"/>
        </pc:sldMkLst>
      </pc:sldChg>
      <pc:sldChg chg="delSp add del">
        <pc:chgData name="Casey Mullen" userId="615adb39-d18b-4c1c-ae7a-6cece5c624ca" providerId="ADAL" clId="{879D8575-D9EF-467B-924E-C3696263FF09}" dt="2020-02-20T15:45:23.104" v="3254" actId="2696"/>
        <pc:sldMkLst>
          <pc:docMk/>
          <pc:sldMk cId="2384785978" sldId="973"/>
        </pc:sldMkLst>
        <pc:spChg chg="del">
          <ac:chgData name="Casey Mullen" userId="615adb39-d18b-4c1c-ae7a-6cece5c624ca" providerId="ADAL" clId="{879D8575-D9EF-467B-924E-C3696263FF09}" dt="2020-02-20T15:44:53.686" v="3252"/>
          <ac:spMkLst>
            <pc:docMk/>
            <pc:sldMk cId="2384785978" sldId="973"/>
            <ac:spMk id="17" creationId="{D2B86E7E-27D9-4180-AB33-78233521C83F}"/>
          </ac:spMkLst>
        </pc:spChg>
        <pc:spChg chg="del">
          <ac:chgData name="Casey Mullen" userId="615adb39-d18b-4c1c-ae7a-6cece5c624ca" providerId="ADAL" clId="{879D8575-D9EF-467B-924E-C3696263FF09}" dt="2020-02-20T15:44:53.686" v="3252"/>
          <ac:spMkLst>
            <pc:docMk/>
            <pc:sldMk cId="2384785978" sldId="973"/>
            <ac:spMk id="18" creationId="{BA9C5432-A4ED-4B67-8096-E7F9B438D570}"/>
          </ac:spMkLst>
        </pc:spChg>
        <pc:spChg chg="del">
          <ac:chgData name="Casey Mullen" userId="615adb39-d18b-4c1c-ae7a-6cece5c624ca" providerId="ADAL" clId="{879D8575-D9EF-467B-924E-C3696263FF09}" dt="2020-02-20T15:44:53.686" v="3252"/>
          <ac:spMkLst>
            <pc:docMk/>
            <pc:sldMk cId="2384785978" sldId="973"/>
            <ac:spMk id="19" creationId="{9654F6F2-B6B6-4FE9-AFAD-3A45E6A9BFEA}"/>
          </ac:spMkLst>
        </pc:spChg>
        <pc:spChg chg="del">
          <ac:chgData name="Casey Mullen" userId="615adb39-d18b-4c1c-ae7a-6cece5c624ca" providerId="ADAL" clId="{879D8575-D9EF-467B-924E-C3696263FF09}" dt="2020-02-20T15:44:53.686" v="3252"/>
          <ac:spMkLst>
            <pc:docMk/>
            <pc:sldMk cId="2384785978" sldId="973"/>
            <ac:spMk id="20" creationId="{EF424C01-0B7A-481A-A1B1-5C559CF719CC}"/>
          </ac:spMkLst>
        </pc:spChg>
        <pc:spChg chg="del">
          <ac:chgData name="Casey Mullen" userId="615adb39-d18b-4c1c-ae7a-6cece5c624ca" providerId="ADAL" clId="{879D8575-D9EF-467B-924E-C3696263FF09}" dt="2020-02-20T15:44:53.686" v="3252"/>
          <ac:spMkLst>
            <pc:docMk/>
            <pc:sldMk cId="2384785978" sldId="973"/>
            <ac:spMk id="21" creationId="{D3942BFE-0649-4746-B953-307E2BB71867}"/>
          </ac:spMkLst>
        </pc:spChg>
        <pc:spChg chg="del">
          <ac:chgData name="Casey Mullen" userId="615adb39-d18b-4c1c-ae7a-6cece5c624ca" providerId="ADAL" clId="{879D8575-D9EF-467B-924E-C3696263FF09}" dt="2020-02-20T15:44:53.686" v="3252"/>
          <ac:spMkLst>
            <pc:docMk/>
            <pc:sldMk cId="2384785978" sldId="973"/>
            <ac:spMk id="22" creationId="{B898B360-B374-4A52-BA64-85852247E956}"/>
          </ac:spMkLst>
        </pc:spChg>
        <pc:spChg chg="del">
          <ac:chgData name="Casey Mullen" userId="615adb39-d18b-4c1c-ae7a-6cece5c624ca" providerId="ADAL" clId="{879D8575-D9EF-467B-924E-C3696263FF09}" dt="2020-02-20T15:44:53.686" v="3252"/>
          <ac:spMkLst>
            <pc:docMk/>
            <pc:sldMk cId="2384785978" sldId="973"/>
            <ac:spMk id="23" creationId="{3B3460AD-10F3-4558-9372-359AB2F06E12}"/>
          </ac:spMkLst>
        </pc:spChg>
        <pc:spChg chg="del">
          <ac:chgData name="Casey Mullen" userId="615adb39-d18b-4c1c-ae7a-6cece5c624ca" providerId="ADAL" clId="{879D8575-D9EF-467B-924E-C3696263FF09}" dt="2020-02-20T15:44:53.686" v="3252"/>
          <ac:spMkLst>
            <pc:docMk/>
            <pc:sldMk cId="2384785978" sldId="973"/>
            <ac:spMk id="24" creationId="{551AB407-52E0-4C1F-9635-13CE0549E677}"/>
          </ac:spMkLst>
        </pc:spChg>
        <pc:spChg chg="del">
          <ac:chgData name="Casey Mullen" userId="615adb39-d18b-4c1c-ae7a-6cece5c624ca" providerId="ADAL" clId="{879D8575-D9EF-467B-924E-C3696263FF09}" dt="2020-02-20T15:44:53.686" v="3252"/>
          <ac:spMkLst>
            <pc:docMk/>
            <pc:sldMk cId="2384785978" sldId="973"/>
            <ac:spMk id="25" creationId="{60B52D66-94B2-44D8-8A5A-388D3E35B3A3}"/>
          </ac:spMkLst>
        </pc:spChg>
        <pc:spChg chg="del">
          <ac:chgData name="Casey Mullen" userId="615adb39-d18b-4c1c-ae7a-6cece5c624ca" providerId="ADAL" clId="{879D8575-D9EF-467B-924E-C3696263FF09}" dt="2020-02-20T15:44:53.686" v="3252"/>
          <ac:spMkLst>
            <pc:docMk/>
            <pc:sldMk cId="2384785978" sldId="973"/>
            <ac:spMk id="26" creationId="{F31B2A14-EB22-4E60-B863-FCB6CF8B9C03}"/>
          </ac:spMkLst>
        </pc:spChg>
        <pc:spChg chg="del">
          <ac:chgData name="Casey Mullen" userId="615adb39-d18b-4c1c-ae7a-6cece5c624ca" providerId="ADAL" clId="{879D8575-D9EF-467B-924E-C3696263FF09}" dt="2020-02-20T15:44:53.686" v="3252"/>
          <ac:spMkLst>
            <pc:docMk/>
            <pc:sldMk cId="2384785978" sldId="973"/>
            <ac:spMk id="27" creationId="{4A4F96C5-99EF-4644-96DB-67B8F3D2FCC0}"/>
          </ac:spMkLst>
        </pc:spChg>
      </pc:sldChg>
      <pc:sldChg chg="addSp delSp modSp add modTransition">
        <pc:chgData name="Casey Mullen" userId="615adb39-d18b-4c1c-ae7a-6cece5c624ca" providerId="ADAL" clId="{879D8575-D9EF-467B-924E-C3696263FF09}" dt="2020-02-20T19:54:06.497" v="3314"/>
        <pc:sldMkLst>
          <pc:docMk/>
          <pc:sldMk cId="2159439160" sldId="974"/>
        </pc:sldMkLst>
        <pc:spChg chg="add">
          <ac:chgData name="Casey Mullen" userId="615adb39-d18b-4c1c-ae7a-6cece5c624ca" providerId="ADAL" clId="{879D8575-D9EF-467B-924E-C3696263FF09}" dt="2020-02-20T15:44:56.753" v="3253"/>
          <ac:spMkLst>
            <pc:docMk/>
            <pc:sldMk cId="2159439160" sldId="974"/>
            <ac:spMk id="9" creationId="{FD6942DE-9C79-474D-992D-2E39A9B07AA9}"/>
          </ac:spMkLst>
        </pc:spChg>
        <pc:spChg chg="add">
          <ac:chgData name="Casey Mullen" userId="615adb39-d18b-4c1c-ae7a-6cece5c624ca" providerId="ADAL" clId="{879D8575-D9EF-467B-924E-C3696263FF09}" dt="2020-02-20T15:44:56.753" v="3253"/>
          <ac:spMkLst>
            <pc:docMk/>
            <pc:sldMk cId="2159439160" sldId="974"/>
            <ac:spMk id="10" creationId="{931D9004-4B46-4A7B-9065-D001BAA02308}"/>
          </ac:spMkLst>
        </pc:spChg>
        <pc:spChg chg="add">
          <ac:chgData name="Casey Mullen" userId="615adb39-d18b-4c1c-ae7a-6cece5c624ca" providerId="ADAL" clId="{879D8575-D9EF-467B-924E-C3696263FF09}" dt="2020-02-20T15:44:56.753" v="3253"/>
          <ac:spMkLst>
            <pc:docMk/>
            <pc:sldMk cId="2159439160" sldId="974"/>
            <ac:spMk id="11" creationId="{A14D20CB-17C9-4141-9C74-37596619EF25}"/>
          </ac:spMkLst>
        </pc:spChg>
        <pc:spChg chg="add">
          <ac:chgData name="Casey Mullen" userId="615adb39-d18b-4c1c-ae7a-6cece5c624ca" providerId="ADAL" clId="{879D8575-D9EF-467B-924E-C3696263FF09}" dt="2020-02-20T15:44:56.753" v="3253"/>
          <ac:spMkLst>
            <pc:docMk/>
            <pc:sldMk cId="2159439160" sldId="974"/>
            <ac:spMk id="12" creationId="{97D575FF-1992-48B4-89FB-1F45912D03EC}"/>
          </ac:spMkLst>
        </pc:spChg>
        <pc:spChg chg="add">
          <ac:chgData name="Casey Mullen" userId="615adb39-d18b-4c1c-ae7a-6cece5c624ca" providerId="ADAL" clId="{879D8575-D9EF-467B-924E-C3696263FF09}" dt="2020-02-20T15:44:56.753" v="3253"/>
          <ac:spMkLst>
            <pc:docMk/>
            <pc:sldMk cId="2159439160" sldId="974"/>
            <ac:spMk id="13" creationId="{89112861-6769-4701-AFE0-FEE14F5068C3}"/>
          </ac:spMkLst>
        </pc:spChg>
        <pc:spChg chg="add">
          <ac:chgData name="Casey Mullen" userId="615adb39-d18b-4c1c-ae7a-6cece5c624ca" providerId="ADAL" clId="{879D8575-D9EF-467B-924E-C3696263FF09}" dt="2020-02-20T15:44:56.753" v="3253"/>
          <ac:spMkLst>
            <pc:docMk/>
            <pc:sldMk cId="2159439160" sldId="974"/>
            <ac:spMk id="14" creationId="{0844FDED-9E2F-45F8-BE31-C9522412046B}"/>
          </ac:spMkLst>
        </pc:spChg>
        <pc:spChg chg="add">
          <ac:chgData name="Casey Mullen" userId="615adb39-d18b-4c1c-ae7a-6cece5c624ca" providerId="ADAL" clId="{879D8575-D9EF-467B-924E-C3696263FF09}" dt="2020-02-20T15:44:56.753" v="3253"/>
          <ac:spMkLst>
            <pc:docMk/>
            <pc:sldMk cId="2159439160" sldId="974"/>
            <ac:spMk id="15" creationId="{7275BEB0-3E09-453E-866D-D1A0D68F2F95}"/>
          </ac:spMkLst>
        </pc:spChg>
        <pc:spChg chg="add">
          <ac:chgData name="Casey Mullen" userId="615adb39-d18b-4c1c-ae7a-6cece5c624ca" providerId="ADAL" clId="{879D8575-D9EF-467B-924E-C3696263FF09}" dt="2020-02-20T15:44:56.753" v="3253"/>
          <ac:spMkLst>
            <pc:docMk/>
            <pc:sldMk cId="2159439160" sldId="974"/>
            <ac:spMk id="17" creationId="{AA9D819E-6993-408F-948C-01E893A2F3FF}"/>
          </ac:spMkLst>
        </pc:spChg>
        <pc:spChg chg="add">
          <ac:chgData name="Casey Mullen" userId="615adb39-d18b-4c1c-ae7a-6cece5c624ca" providerId="ADAL" clId="{879D8575-D9EF-467B-924E-C3696263FF09}" dt="2020-02-20T15:44:56.753" v="3253"/>
          <ac:spMkLst>
            <pc:docMk/>
            <pc:sldMk cId="2159439160" sldId="974"/>
            <ac:spMk id="18" creationId="{AD0BFA47-C22E-495A-B1A4-75C1F4FFF375}"/>
          </ac:spMkLst>
        </pc:spChg>
        <pc:spChg chg="add">
          <ac:chgData name="Casey Mullen" userId="615adb39-d18b-4c1c-ae7a-6cece5c624ca" providerId="ADAL" clId="{879D8575-D9EF-467B-924E-C3696263FF09}" dt="2020-02-20T15:44:56.753" v="3253"/>
          <ac:spMkLst>
            <pc:docMk/>
            <pc:sldMk cId="2159439160" sldId="974"/>
            <ac:spMk id="19" creationId="{8D0C9A8C-3E2D-410B-A916-09D620164FAB}"/>
          </ac:spMkLst>
        </pc:spChg>
        <pc:spChg chg="add">
          <ac:chgData name="Casey Mullen" userId="615adb39-d18b-4c1c-ae7a-6cece5c624ca" providerId="ADAL" clId="{879D8575-D9EF-467B-924E-C3696263FF09}" dt="2020-02-20T15:44:56.753" v="3253"/>
          <ac:spMkLst>
            <pc:docMk/>
            <pc:sldMk cId="2159439160" sldId="974"/>
            <ac:spMk id="20" creationId="{EAFFD6BE-BE37-4A16-B574-749A2C3B4F10}"/>
          </ac:spMkLst>
        </pc:spChg>
        <pc:grpChg chg="del">
          <ac:chgData name="Casey Mullen" userId="615adb39-d18b-4c1c-ae7a-6cece5c624ca" providerId="ADAL" clId="{879D8575-D9EF-467B-924E-C3696263FF09}" dt="2020-02-20T15:44:36.558" v="3159" actId="478"/>
          <ac:grpSpMkLst>
            <pc:docMk/>
            <pc:sldMk cId="2159439160" sldId="974"/>
            <ac:grpSpMk id="3" creationId="{26F5DEBD-2643-4267-B302-36E731BD1B2F}"/>
          </ac:grpSpMkLst>
        </pc:grpChg>
        <pc:picChg chg="del">
          <ac:chgData name="Casey Mullen" userId="615adb39-d18b-4c1c-ae7a-6cece5c624ca" providerId="ADAL" clId="{879D8575-D9EF-467B-924E-C3696263FF09}" dt="2020-02-20T15:44:36.558" v="3159" actId="478"/>
          <ac:picMkLst>
            <pc:docMk/>
            <pc:sldMk cId="2159439160" sldId="974"/>
            <ac:picMk id="28" creationId="{4568E248-0C0D-4129-B5B2-F76266473101}"/>
          </ac:picMkLst>
        </pc:picChg>
        <pc:picChg chg="mod">
          <ac:chgData name="Casey Mullen" userId="615adb39-d18b-4c1c-ae7a-6cece5c624ca" providerId="ADAL" clId="{879D8575-D9EF-467B-924E-C3696263FF09}" dt="2020-02-20T15:44:46.286" v="3251" actId="1037"/>
          <ac:picMkLst>
            <pc:docMk/>
            <pc:sldMk cId="2159439160" sldId="974"/>
            <ac:picMk id="5124" creationId="{76D2B5B7-9540-4FB0-AFAB-73BD33186452}"/>
          </ac:picMkLst>
        </pc:picChg>
      </pc:sldChg>
      <pc:sldChg chg="delSp modSp add modTransition">
        <pc:chgData name="Casey Mullen" userId="615adb39-d18b-4c1c-ae7a-6cece5c624ca" providerId="ADAL" clId="{879D8575-D9EF-467B-924E-C3696263FF09}" dt="2020-02-20T19:54:06.497" v="3314"/>
        <pc:sldMkLst>
          <pc:docMk/>
          <pc:sldMk cId="155474112" sldId="975"/>
        </pc:sldMkLst>
        <pc:grpChg chg="mod">
          <ac:chgData name="Casey Mullen" userId="615adb39-d18b-4c1c-ae7a-6cece5c624ca" providerId="ADAL" clId="{879D8575-D9EF-467B-924E-C3696263FF09}" dt="2020-02-20T19:53:22.353" v="3312" actId="12788"/>
          <ac:grpSpMkLst>
            <pc:docMk/>
            <pc:sldMk cId="155474112" sldId="975"/>
            <ac:grpSpMk id="3" creationId="{26F5DEBD-2643-4267-B302-36E731BD1B2F}"/>
          </ac:grpSpMkLst>
        </pc:grpChg>
        <pc:picChg chg="del">
          <ac:chgData name="Casey Mullen" userId="615adb39-d18b-4c1c-ae7a-6cece5c624ca" providerId="ADAL" clId="{879D8575-D9EF-467B-924E-C3696263FF09}" dt="2020-02-20T19:53:16.943" v="3311" actId="478"/>
          <ac:picMkLst>
            <pc:docMk/>
            <pc:sldMk cId="155474112" sldId="975"/>
            <ac:picMk id="3074" creationId="{6FE7FED5-6D76-472C-82A2-4642BD193318}"/>
          </ac:picMkLst>
        </pc:picChg>
      </pc:sldChg>
      <pc:sldChg chg="addSp delSp modSp add ord">
        <pc:chgData name="Casey Mullen" userId="615adb39-d18b-4c1c-ae7a-6cece5c624ca" providerId="ADAL" clId="{879D8575-D9EF-467B-924E-C3696263FF09}" dt="2020-02-21T14:58:41.681" v="3968"/>
        <pc:sldMkLst>
          <pc:docMk/>
          <pc:sldMk cId="919205582" sldId="976"/>
        </pc:sldMkLst>
        <pc:spChg chg="del">
          <ac:chgData name="Casey Mullen" userId="615adb39-d18b-4c1c-ae7a-6cece5c624ca" providerId="ADAL" clId="{879D8575-D9EF-467B-924E-C3696263FF09}" dt="2020-02-21T14:33:21.221" v="3317"/>
          <ac:spMkLst>
            <pc:docMk/>
            <pc:sldMk cId="919205582" sldId="976"/>
            <ac:spMk id="2" creationId="{26A9F7FE-9021-4D4B-AFD3-E56B9EDA5659}"/>
          </ac:spMkLst>
        </pc:spChg>
        <pc:spChg chg="del">
          <ac:chgData name="Casey Mullen" userId="615adb39-d18b-4c1c-ae7a-6cece5c624ca" providerId="ADAL" clId="{879D8575-D9EF-467B-924E-C3696263FF09}" dt="2020-02-21T14:33:21.221" v="3317"/>
          <ac:spMkLst>
            <pc:docMk/>
            <pc:sldMk cId="919205582" sldId="976"/>
            <ac:spMk id="3" creationId="{C916435B-0DEB-412A-88F7-B035A675F55A}"/>
          </ac:spMkLst>
        </pc:spChg>
        <pc:spChg chg="add mod">
          <ac:chgData name="Casey Mullen" userId="615adb39-d18b-4c1c-ae7a-6cece5c624ca" providerId="ADAL" clId="{879D8575-D9EF-467B-924E-C3696263FF09}" dt="2020-02-21T14:55:55.880" v="3925" actId="1076"/>
          <ac:spMkLst>
            <pc:docMk/>
            <pc:sldMk cId="919205582" sldId="976"/>
            <ac:spMk id="4" creationId="{963029BD-7DBE-477A-8DD6-0BBEA0C7F5F2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5" creationId="{3E61640C-9AF7-4113-9102-5C30AAEA8513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6" creationId="{8979AA46-4618-4CBD-ACAF-77468C5B7FA9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7" creationId="{B962E6F5-C8F1-4420-A9EB-F229C886D0C1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8" creationId="{57CD83CC-A44A-449A-92C2-474E1F5ABBF2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9" creationId="{F7AAA352-E5BB-439E-A9E2-9C1342DCCFE3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10" creationId="{891F8E3B-BDC0-4923-A4A6-9145E16BA160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11" creationId="{6215201E-E4E3-4523-842E-892DF7F1D840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12" creationId="{C8688D3F-66AB-4333-B81E-DABF9C9EAE50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13" creationId="{0B80EAB1-FDB5-4654-8E28-01D1C28E92BE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14" creationId="{F065B087-5CAA-4A83-992D-C34976C26708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15" creationId="{B045A8E2-84A7-40D4-9B83-5D01CDCD1FBC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16" creationId="{4A6FBCA8-689E-48AD-9FF7-09393DD9C027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17" creationId="{DFDBDDE4-97F9-4B87-8F73-9FA4F3581E1F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18" creationId="{7B12751F-1656-4D43-9193-BEFF27215AA5}"/>
          </ac:spMkLst>
        </pc:spChg>
        <pc:spChg chg="add del mod ord">
          <ac:chgData name="Casey Mullen" userId="615adb39-d18b-4c1c-ae7a-6cece5c624ca" providerId="ADAL" clId="{879D8575-D9EF-467B-924E-C3696263FF09}" dt="2020-02-21T14:48:09.290" v="3450" actId="478"/>
          <ac:spMkLst>
            <pc:docMk/>
            <pc:sldMk cId="919205582" sldId="976"/>
            <ac:spMk id="19" creationId="{D1B06186-4B2F-4F80-A1A0-98802C856BA4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20" creationId="{0007E703-B724-42B5-9F89-E8264AA9FD4A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23" creationId="{4304650F-6D42-4327-B9F6-685F41BBE38F}"/>
          </ac:spMkLst>
        </pc:spChg>
        <pc:spChg chg="add mod">
          <ac:chgData name="Casey Mullen" userId="615adb39-d18b-4c1c-ae7a-6cece5c624ca" providerId="ADAL" clId="{879D8575-D9EF-467B-924E-C3696263FF09}" dt="2020-02-21T14:55:46.359" v="3896" actId="14100"/>
          <ac:spMkLst>
            <pc:docMk/>
            <pc:sldMk cId="919205582" sldId="976"/>
            <ac:spMk id="24" creationId="{F8DC276D-300A-4C21-AEA4-334CD7ACD472}"/>
          </ac:spMkLst>
        </pc:spChg>
        <pc:spChg chg="add mod">
          <ac:chgData name="Casey Mullen" userId="615adb39-d18b-4c1c-ae7a-6cece5c624ca" providerId="ADAL" clId="{879D8575-D9EF-467B-924E-C3696263FF09}" dt="2020-02-21T14:55:51.497" v="3923" actId="1037"/>
          <ac:spMkLst>
            <pc:docMk/>
            <pc:sldMk cId="919205582" sldId="976"/>
            <ac:spMk id="28" creationId="{9FD5679D-FC09-4705-BB4C-5FF2B39B9F15}"/>
          </ac:spMkLst>
        </pc:spChg>
        <pc:spChg chg="add mod">
          <ac:chgData name="Casey Mullen" userId="615adb39-d18b-4c1c-ae7a-6cece5c624ca" providerId="ADAL" clId="{879D8575-D9EF-467B-924E-C3696263FF09}" dt="2020-02-21T14:55:59.079" v="3939" actId="1038"/>
          <ac:spMkLst>
            <pc:docMk/>
            <pc:sldMk cId="919205582" sldId="976"/>
            <ac:spMk id="29" creationId="{F0793BE4-17C4-497C-AC6D-CDA04353A4E0}"/>
          </ac:spMkLst>
        </pc:spChg>
        <pc:spChg chg="add mod">
          <ac:chgData name="Casey Mullen" userId="615adb39-d18b-4c1c-ae7a-6cece5c624ca" providerId="ADAL" clId="{879D8575-D9EF-467B-924E-C3696263FF09}" dt="2020-02-21T14:55:59.079" v="3939" actId="1038"/>
          <ac:spMkLst>
            <pc:docMk/>
            <pc:sldMk cId="919205582" sldId="976"/>
            <ac:spMk id="30" creationId="{509FA1CA-F53B-467A-8E1B-E9BB7A7ADEDA}"/>
          </ac:spMkLst>
        </pc:spChg>
        <pc:spChg chg="add mod">
          <ac:chgData name="Casey Mullen" userId="615adb39-d18b-4c1c-ae7a-6cece5c624ca" providerId="ADAL" clId="{879D8575-D9EF-467B-924E-C3696263FF09}" dt="2020-02-21T14:55:59.079" v="3939" actId="1038"/>
          <ac:spMkLst>
            <pc:docMk/>
            <pc:sldMk cId="919205582" sldId="976"/>
            <ac:spMk id="31" creationId="{309E7E18-4BE1-4851-AF0C-F50260E7C525}"/>
          </ac:spMkLst>
        </pc:spChg>
        <pc:spChg chg="add mod">
          <ac:chgData name="Casey Mullen" userId="615adb39-d18b-4c1c-ae7a-6cece5c624ca" providerId="ADAL" clId="{879D8575-D9EF-467B-924E-C3696263FF09}" dt="2020-02-21T14:56:19.647" v="3958" actId="1076"/>
          <ac:spMkLst>
            <pc:docMk/>
            <pc:sldMk cId="919205582" sldId="976"/>
            <ac:spMk id="38" creationId="{001DFEED-7A44-476E-B493-C4BFFD4372BC}"/>
          </ac:spMkLst>
        </pc:spChg>
        <pc:cxnChg chg="add mod">
          <ac:chgData name="Casey Mullen" userId="615adb39-d18b-4c1c-ae7a-6cece5c624ca" providerId="ADAL" clId="{879D8575-D9EF-467B-924E-C3696263FF09}" dt="2020-02-21T14:55:51.497" v="3923" actId="1037"/>
          <ac:cxnSpMkLst>
            <pc:docMk/>
            <pc:sldMk cId="919205582" sldId="976"/>
            <ac:cxnSpMk id="22" creationId="{D7CCCC72-5000-45E1-8C5B-4EFCF7DC27BD}"/>
          </ac:cxnSpMkLst>
        </pc:cxnChg>
        <pc:cxnChg chg="add mod">
          <ac:chgData name="Casey Mullen" userId="615adb39-d18b-4c1c-ae7a-6cece5c624ca" providerId="ADAL" clId="{879D8575-D9EF-467B-924E-C3696263FF09}" dt="2020-02-21T14:55:51.497" v="3923" actId="1037"/>
          <ac:cxnSpMkLst>
            <pc:docMk/>
            <pc:sldMk cId="919205582" sldId="976"/>
            <ac:cxnSpMk id="25" creationId="{38169373-E7B9-4945-9995-922D4866664D}"/>
          </ac:cxnSpMkLst>
        </pc:cxnChg>
        <pc:cxnChg chg="add mod">
          <ac:chgData name="Casey Mullen" userId="615adb39-d18b-4c1c-ae7a-6cece5c624ca" providerId="ADAL" clId="{879D8575-D9EF-467B-924E-C3696263FF09}" dt="2020-02-21T14:55:59.079" v="3939" actId="1038"/>
          <ac:cxnSpMkLst>
            <pc:docMk/>
            <pc:sldMk cId="919205582" sldId="976"/>
            <ac:cxnSpMk id="32" creationId="{E93DDDF4-A685-455F-923F-929A08F7FA7B}"/>
          </ac:cxnSpMkLst>
        </pc:cxnChg>
        <pc:cxnChg chg="add mod">
          <ac:chgData name="Casey Mullen" userId="615adb39-d18b-4c1c-ae7a-6cece5c624ca" providerId="ADAL" clId="{879D8575-D9EF-467B-924E-C3696263FF09}" dt="2020-02-21T14:55:59.079" v="3939" actId="1038"/>
          <ac:cxnSpMkLst>
            <pc:docMk/>
            <pc:sldMk cId="919205582" sldId="976"/>
            <ac:cxnSpMk id="35" creationId="{70B67FA5-C9F7-4D17-9825-44C88BFBBAD0}"/>
          </ac:cxnSpMkLst>
        </pc:cxnChg>
      </pc:sldChg>
      <pc:sldChg chg="addSp modSp add ord">
        <pc:chgData name="Casey Mullen" userId="615adb39-d18b-4c1c-ae7a-6cece5c624ca" providerId="ADAL" clId="{879D8575-D9EF-467B-924E-C3696263FF09}" dt="2020-02-21T14:57:54.866" v="3964"/>
        <pc:sldMkLst>
          <pc:docMk/>
          <pc:sldMk cId="333550734" sldId="977"/>
        </pc:sldMkLst>
        <pc:picChg chg="add mod">
          <ac:chgData name="Casey Mullen" userId="615adb39-d18b-4c1c-ae7a-6cece5c624ca" providerId="ADAL" clId="{879D8575-D9EF-467B-924E-C3696263FF09}" dt="2020-02-21T14:57:35.958" v="3963" actId="14100"/>
          <ac:picMkLst>
            <pc:docMk/>
            <pc:sldMk cId="333550734" sldId="977"/>
            <ac:picMk id="3" creationId="{834E5140-3F30-4FCD-A92B-254CFB1F1879}"/>
          </ac:picMkLst>
        </pc:picChg>
      </pc:sldChg>
      <pc:sldChg chg="delSp modSp add">
        <pc:chgData name="Casey Mullen" userId="615adb39-d18b-4c1c-ae7a-6cece5c624ca" providerId="ADAL" clId="{879D8575-D9EF-467B-924E-C3696263FF09}" dt="2020-02-21T14:58:30.982" v="3967" actId="478"/>
        <pc:sldMkLst>
          <pc:docMk/>
          <pc:sldMk cId="1097363081" sldId="978"/>
        </pc:sldMkLst>
        <pc:spChg chg="mod">
          <ac:chgData name="Casey Mullen" userId="615adb39-d18b-4c1c-ae7a-6cece5c624ca" providerId="ADAL" clId="{879D8575-D9EF-467B-924E-C3696263FF09}" dt="2020-02-21T14:58:27.216" v="3966" actId="6549"/>
          <ac:spMkLst>
            <pc:docMk/>
            <pc:sldMk cId="1097363081" sldId="978"/>
            <ac:spMk id="24" creationId="{F8DC276D-300A-4C21-AEA4-334CD7ACD472}"/>
          </ac:spMkLst>
        </pc:spChg>
        <pc:spChg chg="del">
          <ac:chgData name="Casey Mullen" userId="615adb39-d18b-4c1c-ae7a-6cece5c624ca" providerId="ADAL" clId="{879D8575-D9EF-467B-924E-C3696263FF09}" dt="2020-02-21T14:58:30.982" v="3967" actId="478"/>
          <ac:spMkLst>
            <pc:docMk/>
            <pc:sldMk cId="1097363081" sldId="978"/>
            <ac:spMk id="28" creationId="{9FD5679D-FC09-4705-BB4C-5FF2B39B9F15}"/>
          </ac:spMkLst>
        </pc:spChg>
        <pc:cxnChg chg="del mod">
          <ac:chgData name="Casey Mullen" userId="615adb39-d18b-4c1c-ae7a-6cece5c624ca" providerId="ADAL" clId="{879D8575-D9EF-467B-924E-C3696263FF09}" dt="2020-02-21T14:58:30.982" v="3967" actId="478"/>
          <ac:cxnSpMkLst>
            <pc:docMk/>
            <pc:sldMk cId="1097363081" sldId="978"/>
            <ac:cxnSpMk id="25" creationId="{38169373-E7B9-4945-9995-922D4866664D}"/>
          </ac:cxnSpMkLst>
        </pc:cxnChg>
      </pc:sldChg>
      <pc:sldChg chg="addSp delSp modSp add">
        <pc:chgData name="Casey Mullen" userId="615adb39-d18b-4c1c-ae7a-6cece5c624ca" providerId="ADAL" clId="{879D8575-D9EF-467B-924E-C3696263FF09}" dt="2020-02-21T15:45:12.223" v="4115" actId="20577"/>
        <pc:sldMkLst>
          <pc:docMk/>
          <pc:sldMk cId="2400626672" sldId="979"/>
        </pc:sldMkLst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84" creationId="{3E564346-4FD0-490A-A468-E6D64F4D44FA}"/>
          </ac:spMkLst>
        </pc:spChg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85" creationId="{4FD42371-1164-40E4-BB27-9A90FD528F76}"/>
          </ac:spMkLst>
        </pc:spChg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86" creationId="{544C1C0F-D4B5-4F30-8C3C-7DF05A9CD14A}"/>
          </ac:spMkLst>
        </pc:spChg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87" creationId="{CB10E1E2-6375-44D4-9A07-9B2CBF993BDC}"/>
          </ac:spMkLst>
        </pc:spChg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88" creationId="{46EEEE3F-DEED-4AED-9211-2AD76BA9413C}"/>
          </ac:spMkLst>
        </pc:spChg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89" creationId="{5C3DE46B-0B13-4DC7-90DD-65A264448BFB}"/>
          </ac:spMkLst>
        </pc:spChg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90" creationId="{0CCF924F-9629-4553-A21D-4E4743041E29}"/>
          </ac:spMkLst>
        </pc:spChg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91" creationId="{8A53755D-F9EB-4E07-A4F0-9FC335D2CBFD}"/>
          </ac:spMkLst>
        </pc:spChg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92" creationId="{FC743118-2557-4BA7-A54F-833E96A2F1E2}"/>
          </ac:spMkLst>
        </pc:spChg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93" creationId="{50DD4320-6F40-460F-857F-D9F206295706}"/>
          </ac:spMkLst>
        </pc:spChg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94" creationId="{5481C06B-928F-4BED-BD3C-619ABEA0C18D}"/>
          </ac:spMkLst>
        </pc:spChg>
        <pc:spChg chg="add mod">
          <ac:chgData name="Casey Mullen" userId="615adb39-d18b-4c1c-ae7a-6cece5c624ca" providerId="ADAL" clId="{879D8575-D9EF-467B-924E-C3696263FF09}" dt="2020-02-21T15:44:42.069" v="4095" actId="1076"/>
          <ac:spMkLst>
            <pc:docMk/>
            <pc:sldMk cId="2400626672" sldId="979"/>
            <ac:spMk id="95" creationId="{76D6BE9E-6629-457F-8975-4A82815D7A14}"/>
          </ac:spMkLst>
        </pc:spChg>
        <pc:spChg chg="mod">
          <ac:chgData name="Casey Mullen" userId="615adb39-d18b-4c1c-ae7a-6cece5c624ca" providerId="ADAL" clId="{879D8575-D9EF-467B-924E-C3696263FF09}" dt="2020-02-21T15:45:06.884" v="4103" actId="20577"/>
          <ac:spMkLst>
            <pc:docMk/>
            <pc:sldMk cId="2400626672" sldId="979"/>
            <ac:spMk id="105" creationId="{87AF597D-A5FE-4A8E-9D03-5B6C81845366}"/>
          </ac:spMkLst>
        </pc:spChg>
        <pc:spChg chg="mod">
          <ac:chgData name="Casey Mullen" userId="615adb39-d18b-4c1c-ae7a-6cece5c624ca" providerId="ADAL" clId="{879D8575-D9EF-467B-924E-C3696263FF09}" dt="2020-02-21T15:45:12.223" v="4115" actId="20577"/>
          <ac:spMkLst>
            <pc:docMk/>
            <pc:sldMk cId="2400626672" sldId="979"/>
            <ac:spMk id="112" creationId="{C069188F-6398-4CAE-A7D8-E6497DA26D89}"/>
          </ac:spMkLst>
        </pc:spChg>
        <pc:spChg chg="del">
          <ac:chgData name="Casey Mullen" userId="615adb39-d18b-4c1c-ae7a-6cece5c624ca" providerId="ADAL" clId="{879D8575-D9EF-467B-924E-C3696263FF09}" dt="2020-02-21T15:44:19.661" v="4091" actId="478"/>
          <ac:spMkLst>
            <pc:docMk/>
            <pc:sldMk cId="2400626672" sldId="979"/>
            <ac:spMk id="157" creationId="{75177FEE-8B23-4945-83C8-3B8A11B62E7D}"/>
          </ac:spMkLst>
        </pc:spChg>
        <pc:spChg chg="del">
          <ac:chgData name="Casey Mullen" userId="615adb39-d18b-4c1c-ae7a-6cece5c624ca" providerId="ADAL" clId="{879D8575-D9EF-467B-924E-C3696263FF09}" dt="2020-02-21T15:44:19.661" v="4091" actId="478"/>
          <ac:spMkLst>
            <pc:docMk/>
            <pc:sldMk cId="2400626672" sldId="979"/>
            <ac:spMk id="158" creationId="{2E8115C4-4665-4580-AF99-DCDC72EFF981}"/>
          </ac:spMkLst>
        </pc:spChg>
        <pc:spChg chg="del">
          <ac:chgData name="Casey Mullen" userId="615adb39-d18b-4c1c-ae7a-6cece5c624ca" providerId="ADAL" clId="{879D8575-D9EF-467B-924E-C3696263FF09}" dt="2020-02-21T15:44:19.661" v="4091" actId="478"/>
          <ac:spMkLst>
            <pc:docMk/>
            <pc:sldMk cId="2400626672" sldId="979"/>
            <ac:spMk id="159" creationId="{6DB32D40-5ABB-40C2-86F8-8E71898B712E}"/>
          </ac:spMkLst>
        </pc:spChg>
        <pc:spChg chg="del">
          <ac:chgData name="Casey Mullen" userId="615adb39-d18b-4c1c-ae7a-6cece5c624ca" providerId="ADAL" clId="{879D8575-D9EF-467B-924E-C3696263FF09}" dt="2020-02-21T15:44:19.661" v="4091" actId="478"/>
          <ac:spMkLst>
            <pc:docMk/>
            <pc:sldMk cId="2400626672" sldId="979"/>
            <ac:spMk id="160" creationId="{CD766438-3850-4B69-B35E-BDFBD45A358D}"/>
          </ac:spMkLst>
        </pc:spChg>
        <pc:spChg chg="del">
          <ac:chgData name="Casey Mullen" userId="615adb39-d18b-4c1c-ae7a-6cece5c624ca" providerId="ADAL" clId="{879D8575-D9EF-467B-924E-C3696263FF09}" dt="2020-02-21T15:44:19.661" v="4091" actId="478"/>
          <ac:spMkLst>
            <pc:docMk/>
            <pc:sldMk cId="2400626672" sldId="979"/>
            <ac:spMk id="161" creationId="{D57FB4FC-6AF1-48EC-8988-99CB443A911F}"/>
          </ac:spMkLst>
        </pc:spChg>
        <pc:spChg chg="del">
          <ac:chgData name="Casey Mullen" userId="615adb39-d18b-4c1c-ae7a-6cece5c624ca" providerId="ADAL" clId="{879D8575-D9EF-467B-924E-C3696263FF09}" dt="2020-02-21T15:44:19.661" v="4091" actId="478"/>
          <ac:spMkLst>
            <pc:docMk/>
            <pc:sldMk cId="2400626672" sldId="979"/>
            <ac:spMk id="162" creationId="{3911B10D-4BAF-4EA5-8339-A30B3FA4510D}"/>
          </ac:spMkLst>
        </pc:spChg>
        <pc:spChg chg="del">
          <ac:chgData name="Casey Mullen" userId="615adb39-d18b-4c1c-ae7a-6cece5c624ca" providerId="ADAL" clId="{879D8575-D9EF-467B-924E-C3696263FF09}" dt="2020-02-21T15:44:19.661" v="4091" actId="478"/>
          <ac:spMkLst>
            <pc:docMk/>
            <pc:sldMk cId="2400626672" sldId="979"/>
            <ac:spMk id="163" creationId="{B963FA65-ECEF-462F-A658-C53CF5BEF88A}"/>
          </ac:spMkLst>
        </pc:spChg>
        <pc:spChg chg="del">
          <ac:chgData name="Casey Mullen" userId="615adb39-d18b-4c1c-ae7a-6cece5c624ca" providerId="ADAL" clId="{879D8575-D9EF-467B-924E-C3696263FF09}" dt="2020-02-21T15:44:19.661" v="4091" actId="478"/>
          <ac:spMkLst>
            <pc:docMk/>
            <pc:sldMk cId="2400626672" sldId="979"/>
            <ac:spMk id="164" creationId="{326A7D25-784D-4896-A0A7-FF172FB9949E}"/>
          </ac:spMkLst>
        </pc:spChg>
        <pc:spChg chg="del">
          <ac:chgData name="Casey Mullen" userId="615adb39-d18b-4c1c-ae7a-6cece5c624ca" providerId="ADAL" clId="{879D8575-D9EF-467B-924E-C3696263FF09}" dt="2020-02-21T15:44:19.661" v="4091" actId="478"/>
          <ac:spMkLst>
            <pc:docMk/>
            <pc:sldMk cId="2400626672" sldId="979"/>
            <ac:spMk id="165" creationId="{B39BBBC8-BC06-48CC-85C3-399A25463864}"/>
          </ac:spMkLst>
        </pc:spChg>
        <pc:spChg chg="del">
          <ac:chgData name="Casey Mullen" userId="615adb39-d18b-4c1c-ae7a-6cece5c624ca" providerId="ADAL" clId="{879D8575-D9EF-467B-924E-C3696263FF09}" dt="2020-02-21T15:44:19.661" v="4091" actId="478"/>
          <ac:spMkLst>
            <pc:docMk/>
            <pc:sldMk cId="2400626672" sldId="979"/>
            <ac:spMk id="166" creationId="{8C0208CA-CA3C-4AF0-B2BE-D902D7163B61}"/>
          </ac:spMkLst>
        </pc:spChg>
        <pc:spChg chg="del">
          <ac:chgData name="Casey Mullen" userId="615adb39-d18b-4c1c-ae7a-6cece5c624ca" providerId="ADAL" clId="{879D8575-D9EF-467B-924E-C3696263FF09}" dt="2020-02-21T15:44:19.661" v="4091" actId="478"/>
          <ac:spMkLst>
            <pc:docMk/>
            <pc:sldMk cId="2400626672" sldId="979"/>
            <ac:spMk id="167" creationId="{9480DD29-8289-485A-9CC9-2FA3CBA049C1}"/>
          </ac:spMkLst>
        </pc:spChg>
      </pc:sldChg>
    </pc:docChg>
  </pc:docChgLst>
  <pc:docChgLst>
    <pc:chgData name="Casey Mullen" userId="615adb39-d18b-4c1c-ae7a-6cece5c624ca" providerId="ADAL" clId="{C71B959C-E0A4-4A04-808B-B680E7C2F5FC}"/>
    <pc:docChg chg="undo custSel addSld modSld">
      <pc:chgData name="Casey Mullen" userId="615adb39-d18b-4c1c-ae7a-6cece5c624ca" providerId="ADAL" clId="{C71B959C-E0A4-4A04-808B-B680E7C2F5FC}" dt="2020-04-04T23:13:51.155" v="158" actId="1038"/>
      <pc:docMkLst>
        <pc:docMk/>
      </pc:docMkLst>
      <pc:sldChg chg="addSp delSp modSp add">
        <pc:chgData name="Casey Mullen" userId="615adb39-d18b-4c1c-ae7a-6cece5c624ca" providerId="ADAL" clId="{C71B959C-E0A4-4A04-808B-B680E7C2F5FC}" dt="2020-04-04T23:13:51.155" v="158" actId="1038"/>
        <pc:sldMkLst>
          <pc:docMk/>
          <pc:sldMk cId="2665283029" sldId="980"/>
        </pc:sldMkLst>
        <pc:spChg chg="add mod">
          <ac:chgData name="Casey Mullen" userId="615adb39-d18b-4c1c-ae7a-6cece5c624ca" providerId="ADAL" clId="{C71B959C-E0A4-4A04-808B-B680E7C2F5FC}" dt="2020-04-04T23:11:50.829" v="96" actId="164"/>
          <ac:spMkLst>
            <pc:docMk/>
            <pc:sldMk cId="2665283029" sldId="980"/>
            <ac:spMk id="29" creationId="{7AEA0ADB-C6EB-4FC7-A9EC-18742FF502F1}"/>
          </ac:spMkLst>
        </pc:spChg>
        <pc:spChg chg="add mod">
          <ac:chgData name="Casey Mullen" userId="615adb39-d18b-4c1c-ae7a-6cece5c624ca" providerId="ADAL" clId="{C71B959C-E0A4-4A04-808B-B680E7C2F5FC}" dt="2020-04-04T23:11:50.829" v="96" actId="164"/>
          <ac:spMkLst>
            <pc:docMk/>
            <pc:sldMk cId="2665283029" sldId="980"/>
            <ac:spMk id="30" creationId="{29B48622-EF68-4E77-98C3-D0B2655BF38E}"/>
          </ac:spMkLst>
        </pc:spChg>
        <pc:spChg chg="add mod">
          <ac:chgData name="Casey Mullen" userId="615adb39-d18b-4c1c-ae7a-6cece5c624ca" providerId="ADAL" clId="{C71B959C-E0A4-4A04-808B-B680E7C2F5FC}" dt="2020-04-04T23:12:19.789" v="103" actId="1076"/>
          <ac:spMkLst>
            <pc:docMk/>
            <pc:sldMk cId="2665283029" sldId="980"/>
            <ac:spMk id="34" creationId="{E0CD4234-C1F7-486C-B5B9-8C0F2DCB7D63}"/>
          </ac:spMkLst>
        </pc:spChg>
        <pc:spChg chg="add del mod">
          <ac:chgData name="Casey Mullen" userId="615adb39-d18b-4c1c-ae7a-6cece5c624ca" providerId="ADAL" clId="{C71B959C-E0A4-4A04-808B-B680E7C2F5FC}" dt="2020-04-04T23:12:45.874" v="109" actId="1076"/>
          <ac:spMkLst>
            <pc:docMk/>
            <pc:sldMk cId="2665283029" sldId="980"/>
            <ac:spMk id="36" creationId="{5C210C61-68E5-45E7-921B-2CF58FC66F4B}"/>
          </ac:spMkLst>
        </pc:spChg>
        <pc:spChg chg="mod">
          <ac:chgData name="Casey Mullen" userId="615adb39-d18b-4c1c-ae7a-6cece5c624ca" providerId="ADAL" clId="{C71B959C-E0A4-4A04-808B-B680E7C2F5FC}" dt="2020-04-04T23:11:54.170" v="97" actId="164"/>
          <ac:spMkLst>
            <pc:docMk/>
            <pc:sldMk cId="2665283029" sldId="980"/>
            <ac:spMk id="40" creationId="{9C3DE5E2-F7F1-4148-9D36-BA90EE9C585C}"/>
          </ac:spMkLst>
        </pc:spChg>
        <pc:spChg chg="mod">
          <ac:chgData name="Casey Mullen" userId="615adb39-d18b-4c1c-ae7a-6cece5c624ca" providerId="ADAL" clId="{C71B959C-E0A4-4A04-808B-B680E7C2F5FC}" dt="2020-04-04T23:11:54.170" v="97" actId="164"/>
          <ac:spMkLst>
            <pc:docMk/>
            <pc:sldMk cId="2665283029" sldId="980"/>
            <ac:spMk id="41" creationId="{7F02AB72-B3CA-4C54-B34F-F240175CE251}"/>
          </ac:spMkLst>
        </pc:spChg>
        <pc:spChg chg="add mod">
          <ac:chgData name="Casey Mullen" userId="615adb39-d18b-4c1c-ae7a-6cece5c624ca" providerId="ADAL" clId="{C71B959C-E0A4-4A04-808B-B680E7C2F5FC}" dt="2020-04-04T23:13:02.979" v="112" actId="1037"/>
          <ac:spMkLst>
            <pc:docMk/>
            <pc:sldMk cId="2665283029" sldId="980"/>
            <ac:spMk id="43" creationId="{22D9CEE1-1CA9-4879-93DD-C9052B198D74}"/>
          </ac:spMkLst>
        </pc:spChg>
        <pc:spChg chg="add mod">
          <ac:chgData name="Casey Mullen" userId="615adb39-d18b-4c1c-ae7a-6cece5c624ca" providerId="ADAL" clId="{C71B959C-E0A4-4A04-808B-B680E7C2F5FC}" dt="2020-04-04T23:13:51.155" v="158" actId="1038"/>
          <ac:spMkLst>
            <pc:docMk/>
            <pc:sldMk cId="2665283029" sldId="980"/>
            <ac:spMk id="47" creationId="{8CCA0941-B476-474F-AED7-B7E14ADBF28D}"/>
          </ac:spMkLst>
        </pc:spChg>
        <pc:grpChg chg="add mod">
          <ac:chgData name="Casey Mullen" userId="615adb39-d18b-4c1c-ae7a-6cece5c624ca" providerId="ADAL" clId="{C71B959C-E0A4-4A04-808B-B680E7C2F5FC}" dt="2020-04-04T23:13:51.155" v="158" actId="1038"/>
          <ac:grpSpMkLst>
            <pc:docMk/>
            <pc:sldMk cId="2665283029" sldId="980"/>
            <ac:grpSpMk id="7" creationId="{03003281-3010-47D6-974A-8D0099A0C7A7}"/>
          </ac:grpSpMkLst>
        </pc:grpChg>
        <pc:grpChg chg="add mod">
          <ac:chgData name="Casey Mullen" userId="615adb39-d18b-4c1c-ae7a-6cece5c624ca" providerId="ADAL" clId="{C71B959C-E0A4-4A04-808B-B680E7C2F5FC}" dt="2020-04-04T23:12:02.868" v="100" actId="1035"/>
          <ac:grpSpMkLst>
            <pc:docMk/>
            <pc:sldMk cId="2665283029" sldId="980"/>
            <ac:grpSpMk id="9" creationId="{C40CDBD4-6CFC-4B64-9A3F-FCF7921E911E}"/>
          </ac:grpSpMkLst>
        </pc:grpChg>
        <pc:cxnChg chg="add mod">
          <ac:chgData name="Casey Mullen" userId="615adb39-d18b-4c1c-ae7a-6cece5c624ca" providerId="ADAL" clId="{C71B959C-E0A4-4A04-808B-B680E7C2F5FC}" dt="2020-04-04T23:12:39.328" v="108" actId="14100"/>
          <ac:cxnSpMkLst>
            <pc:docMk/>
            <pc:sldMk cId="2665283029" sldId="980"/>
            <ac:cxnSpMk id="35" creationId="{4A620ABD-B8E9-4BC6-A47A-C4FA7CCE505B}"/>
          </ac:cxnSpMkLst>
        </pc:cxnChg>
        <pc:cxnChg chg="mod">
          <ac:chgData name="Casey Mullen" userId="615adb39-d18b-4c1c-ae7a-6cece5c624ca" providerId="ADAL" clId="{C71B959C-E0A4-4A04-808B-B680E7C2F5FC}" dt="2020-04-04T23:12:02.868" v="100" actId="1035"/>
          <ac:cxnSpMkLst>
            <pc:docMk/>
            <pc:sldMk cId="2665283029" sldId="980"/>
            <ac:cxnSpMk id="38" creationId="{3B4E4B37-837C-4F7A-AB5C-02749D9C88A6}"/>
          </ac:cxnSpMkLst>
        </pc:cxnChg>
        <pc:cxnChg chg="mod">
          <ac:chgData name="Casey Mullen" userId="615adb39-d18b-4c1c-ae7a-6cece5c624ca" providerId="ADAL" clId="{C71B959C-E0A4-4A04-808B-B680E7C2F5FC}" dt="2020-04-04T23:13:51.155" v="158" actId="1038"/>
          <ac:cxnSpMkLst>
            <pc:docMk/>
            <pc:sldMk cId="2665283029" sldId="980"/>
            <ac:cxnSpMk id="44" creationId="{5E32A249-3E2D-4655-9497-D7385B097797}"/>
          </ac:cxnSpMkLst>
        </pc:cxnChg>
        <pc:cxnChg chg="add mod">
          <ac:chgData name="Casey Mullen" userId="615adb39-d18b-4c1c-ae7a-6cece5c624ca" providerId="ADAL" clId="{C71B959C-E0A4-4A04-808B-B680E7C2F5FC}" dt="2020-04-04T23:13:51.155" v="158" actId="1038"/>
          <ac:cxnSpMkLst>
            <pc:docMk/>
            <pc:sldMk cId="2665283029" sldId="980"/>
            <ac:cxnSpMk id="46" creationId="{2D2642E1-714B-43B9-9FFD-3487820B1573}"/>
          </ac:cxnSpMkLst>
        </pc:cxnChg>
        <pc:cxnChg chg="mod">
          <ac:chgData name="Casey Mullen" userId="615adb39-d18b-4c1c-ae7a-6cece5c624ca" providerId="ADAL" clId="{C71B959C-E0A4-4A04-808B-B680E7C2F5FC}" dt="2020-04-04T23:12:02.868" v="100" actId="1035"/>
          <ac:cxnSpMkLst>
            <pc:docMk/>
            <pc:sldMk cId="2665283029" sldId="980"/>
            <ac:cxnSpMk id="51" creationId="{01C9FF23-BD1C-450F-B374-F4EF319BEC64}"/>
          </ac:cxnSpMkLst>
        </pc:cxnChg>
      </pc:sldChg>
    </pc:docChg>
  </pc:docChgLst>
  <pc:docChgLst>
    <pc:chgData clId="Web-{766C5926-87D9-268F-C11D-E5EB2FEE3559}"/>
  </pc:docChgLst>
  <pc:docChgLst>
    <pc:chgData name="Casey Mullen" userId="615adb39-d18b-4c1c-ae7a-6cece5c624ca" providerId="ADAL" clId="{AA1DB2AC-A2B1-4ECE-B2A6-03FC0C81F4E5}"/>
  </pc:docChgLst>
  <pc:docChgLst>
    <pc:chgData name="Casey Mullen" userId="615adb39-d18b-4c1c-ae7a-6cece5c624ca" providerId="ADAL" clId="{C5767772-4E72-47C4-8C80-396FEC12900B}"/>
  </pc:docChgLst>
  <pc:docChgLst>
    <pc:chgData name="Colin Kerr" userId="c2eddd5c-9523-419d-a2ad-2dafa2e40450" providerId="ADAL" clId="{A9E27C6A-4D7C-4D9B-A7B7-A7CA312C3779}"/>
  </pc:docChgLst>
  <pc:docChgLst>
    <pc:chgData name="Casey Mullen" userId="615adb39-d18b-4c1c-ae7a-6cece5c624ca" providerId="ADAL" clId="{D69DB5A7-8908-4520-87BB-77C366E02CFD}"/>
  </pc:docChgLst>
  <pc:docChgLst>
    <pc:chgData name="Casey Mullen" userId="615adb39-d18b-4c1c-ae7a-6cece5c624ca" providerId="ADAL" clId="{BCB84AE6-4858-4222-A6EB-685ABA229C54}"/>
  </pc:docChgLst>
  <pc:docChgLst>
    <pc:chgData name="Casey Mullen" userId="615adb39-d18b-4c1c-ae7a-6cece5c624ca" providerId="ADAL" clId="{3A1066F1-46B8-4A18-8885-DDC0F1245CFB}"/>
  </pc:docChgLst>
  <pc:docChgLst>
    <pc:chgData name="Casey Mullen" userId="615adb39-d18b-4c1c-ae7a-6cece5c624ca" providerId="ADAL" clId="{9129A620-37CF-4499-9769-9730ED152C48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666CB2-9A30-46B8-B3CA-408F2FF36E26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2F4EE1-9F04-44B7-B659-EC6BC71F10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383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standards.buildingsmart.org/IFC/RELEASE/IFC4_1/FINAL/HTML/schema/ifcproductextension/lexical/ifcbuilding.htm" TargetMode="External"/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5748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36243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64732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50762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94345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73719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12804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39942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49713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55586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3753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8108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1179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6212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2001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75058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411087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23562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2156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27646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301326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te, Facility, </a:t>
            </a:r>
            <a:r>
              <a:rPr lang="en-US" dirty="0" err="1"/>
              <a:t>FacilityPart</a:t>
            </a:r>
            <a:r>
              <a:rPr lang="en-US" dirty="0"/>
              <a:t>, Space are spatial containers… PhysicalElements go in them</a:t>
            </a:r>
          </a:p>
          <a:p>
            <a:r>
              <a:rPr lang="en-US" dirty="0"/>
              <a:t>UNICLASS CLASS is instance data. We can </a:t>
            </a:r>
            <a:r>
              <a:rPr lang="en-US" dirty="0" err="1"/>
              <a:t>sugg</a:t>
            </a:r>
            <a:endParaRPr lang="en-US" dirty="0"/>
          </a:p>
          <a:p>
            <a:endParaRPr lang="en-US" dirty="0"/>
          </a:p>
          <a:p>
            <a:r>
              <a:rPr lang="en-US" dirty="0"/>
              <a:t>BIS for UNICLASS people… </a:t>
            </a:r>
          </a:p>
          <a:p>
            <a:r>
              <a:rPr lang="en-US" dirty="0"/>
              <a:t>BIS for </a:t>
            </a:r>
            <a:r>
              <a:rPr lang="en-US" dirty="0" err="1"/>
              <a:t>OnmiClass</a:t>
            </a:r>
            <a:r>
              <a:rPr lang="en-US" dirty="0"/>
              <a:t> people</a:t>
            </a:r>
          </a:p>
          <a:p>
            <a:r>
              <a:rPr lang="en-US" dirty="0"/>
              <a:t>BIS for IFC peop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6937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27840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standards.buildingsmart.org/IFC/RELEASE/IFC4_1/FINAL/HTML/schema/ifcproductextension/lexical/ifcbuilding.htm</a:t>
            </a:r>
            <a:endParaRPr lang="en-US" dirty="0"/>
          </a:p>
          <a:p>
            <a:endParaRPr lang="en-US" dirty="0"/>
          </a:p>
          <a:p>
            <a:r>
              <a:rPr lang="en-US" dirty="0"/>
              <a:t>Site, Facility, </a:t>
            </a:r>
            <a:r>
              <a:rPr lang="en-US" dirty="0" err="1"/>
              <a:t>FacilityPart</a:t>
            </a:r>
            <a:r>
              <a:rPr lang="en-US" dirty="0"/>
              <a:t>, Space are spatial containers… PhysicalElements go in them</a:t>
            </a:r>
          </a:p>
          <a:p>
            <a:r>
              <a:rPr lang="en-US" dirty="0"/>
              <a:t>UNICLASS CLASS is instance data. We can </a:t>
            </a:r>
            <a:r>
              <a:rPr lang="en-US" dirty="0" err="1"/>
              <a:t>sugg</a:t>
            </a:r>
            <a:endParaRPr lang="en-US" dirty="0"/>
          </a:p>
          <a:p>
            <a:endParaRPr lang="en-US" dirty="0"/>
          </a:p>
          <a:p>
            <a:r>
              <a:rPr lang="en-US" dirty="0"/>
              <a:t>BIS for UNICLASS people… </a:t>
            </a:r>
          </a:p>
          <a:p>
            <a:r>
              <a:rPr lang="en-US" dirty="0"/>
              <a:t>BIS for </a:t>
            </a:r>
            <a:r>
              <a:rPr lang="en-US" dirty="0" err="1"/>
              <a:t>OnmiClass</a:t>
            </a:r>
            <a:r>
              <a:rPr lang="en-US" dirty="0"/>
              <a:t> people</a:t>
            </a:r>
          </a:p>
          <a:p>
            <a:r>
              <a:rPr lang="en-US" dirty="0"/>
              <a:t>BIS for IFC peop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53233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te, Facility, </a:t>
            </a:r>
            <a:r>
              <a:rPr lang="en-US" dirty="0" err="1"/>
              <a:t>FacilityPart</a:t>
            </a:r>
            <a:r>
              <a:rPr lang="en-US" dirty="0"/>
              <a:t>, Space are spatial containers… PhysicalElements go in them</a:t>
            </a:r>
          </a:p>
          <a:p>
            <a:r>
              <a:rPr lang="en-US" dirty="0"/>
              <a:t>UNICLASS CLASS is instance data. We can </a:t>
            </a:r>
            <a:r>
              <a:rPr lang="en-US" dirty="0" err="1"/>
              <a:t>sugg</a:t>
            </a:r>
            <a:endParaRPr lang="en-US" dirty="0"/>
          </a:p>
          <a:p>
            <a:endParaRPr lang="en-US" dirty="0"/>
          </a:p>
          <a:p>
            <a:r>
              <a:rPr lang="en-US" dirty="0"/>
              <a:t>BIS for UNICLASS people… </a:t>
            </a:r>
          </a:p>
          <a:p>
            <a:r>
              <a:rPr lang="en-US" dirty="0"/>
              <a:t>BIS for </a:t>
            </a:r>
            <a:r>
              <a:rPr lang="en-US" dirty="0" err="1"/>
              <a:t>OnmiClass</a:t>
            </a:r>
            <a:r>
              <a:rPr lang="en-US" dirty="0"/>
              <a:t> people</a:t>
            </a:r>
          </a:p>
          <a:p>
            <a:r>
              <a:rPr lang="en-US" dirty="0"/>
              <a:t>BIS for IFC peop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192487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te, Facility, </a:t>
            </a:r>
            <a:r>
              <a:rPr lang="en-US" dirty="0" err="1"/>
              <a:t>FacilityPart</a:t>
            </a:r>
            <a:r>
              <a:rPr lang="en-US" dirty="0"/>
              <a:t>, Space are spatial containers… PhysicalElements go in them</a:t>
            </a:r>
          </a:p>
          <a:p>
            <a:r>
              <a:rPr lang="en-US" dirty="0"/>
              <a:t>UNICLASS CLASS is instance data. We can </a:t>
            </a:r>
            <a:r>
              <a:rPr lang="en-US" dirty="0" err="1"/>
              <a:t>sugg</a:t>
            </a:r>
            <a:endParaRPr lang="en-US" dirty="0"/>
          </a:p>
          <a:p>
            <a:endParaRPr lang="en-US" dirty="0"/>
          </a:p>
          <a:p>
            <a:r>
              <a:rPr lang="en-US" dirty="0"/>
              <a:t>BIS for UNICLASS people… </a:t>
            </a:r>
          </a:p>
          <a:p>
            <a:r>
              <a:rPr lang="en-US" dirty="0"/>
              <a:t>BIS for </a:t>
            </a:r>
            <a:r>
              <a:rPr lang="en-US" dirty="0" err="1"/>
              <a:t>OnmiClass</a:t>
            </a:r>
            <a:r>
              <a:rPr lang="en-US" dirty="0"/>
              <a:t> people</a:t>
            </a:r>
          </a:p>
          <a:p>
            <a:r>
              <a:rPr lang="en-US" dirty="0"/>
              <a:t>BIS for IFC peop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763162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te, Facility, </a:t>
            </a:r>
            <a:r>
              <a:rPr lang="en-US" dirty="0" err="1"/>
              <a:t>FacilityPart</a:t>
            </a:r>
            <a:r>
              <a:rPr lang="en-US" dirty="0"/>
              <a:t>, Space are spatial containers… PhysicalElements go in them</a:t>
            </a:r>
          </a:p>
          <a:p>
            <a:r>
              <a:rPr lang="en-US" dirty="0"/>
              <a:t>UNICLASS CLASS is instance data. We can </a:t>
            </a:r>
            <a:r>
              <a:rPr lang="en-US" dirty="0" err="1"/>
              <a:t>sugg</a:t>
            </a:r>
            <a:endParaRPr lang="en-US" dirty="0"/>
          </a:p>
          <a:p>
            <a:endParaRPr lang="en-US" dirty="0"/>
          </a:p>
          <a:p>
            <a:r>
              <a:rPr lang="en-US" dirty="0"/>
              <a:t>BIS for UNICLASS people… </a:t>
            </a:r>
          </a:p>
          <a:p>
            <a:r>
              <a:rPr lang="en-US" dirty="0"/>
              <a:t>BIS for </a:t>
            </a:r>
            <a:r>
              <a:rPr lang="en-US" dirty="0" err="1"/>
              <a:t>OnmiClass</a:t>
            </a:r>
            <a:r>
              <a:rPr lang="en-US" dirty="0"/>
              <a:t> people</a:t>
            </a:r>
          </a:p>
          <a:p>
            <a:r>
              <a:rPr lang="en-US" dirty="0"/>
              <a:t>BIS for IFC peop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106254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te, Facility, </a:t>
            </a:r>
            <a:r>
              <a:rPr lang="en-US" dirty="0" err="1"/>
              <a:t>FacilityPart</a:t>
            </a:r>
            <a:r>
              <a:rPr lang="en-US" dirty="0"/>
              <a:t>, Space are spatial containers… PhysicalElements go in them</a:t>
            </a:r>
          </a:p>
          <a:p>
            <a:r>
              <a:rPr lang="en-US" dirty="0"/>
              <a:t>UNICLASS CLASS is instance data. We can </a:t>
            </a:r>
            <a:r>
              <a:rPr lang="en-US" dirty="0" err="1"/>
              <a:t>sugg</a:t>
            </a:r>
            <a:endParaRPr lang="en-US" dirty="0"/>
          </a:p>
          <a:p>
            <a:endParaRPr lang="en-US" dirty="0"/>
          </a:p>
          <a:p>
            <a:r>
              <a:rPr lang="en-US" dirty="0"/>
              <a:t>BIS for UNICLASS people… </a:t>
            </a:r>
          </a:p>
          <a:p>
            <a:r>
              <a:rPr lang="en-US" dirty="0"/>
              <a:t>BIS for </a:t>
            </a:r>
            <a:r>
              <a:rPr lang="en-US" dirty="0" err="1"/>
              <a:t>OnmiClass</a:t>
            </a:r>
            <a:r>
              <a:rPr lang="en-US" dirty="0"/>
              <a:t> people</a:t>
            </a:r>
          </a:p>
          <a:p>
            <a:r>
              <a:rPr lang="en-US" dirty="0"/>
              <a:t>BIS for IFC peop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03591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te, Facility, </a:t>
            </a:r>
            <a:r>
              <a:rPr lang="en-US" dirty="0" err="1"/>
              <a:t>FacilityPart</a:t>
            </a:r>
            <a:r>
              <a:rPr lang="en-US" dirty="0"/>
              <a:t>, Space are spatial containers… PhysicalElements go in them</a:t>
            </a:r>
          </a:p>
          <a:p>
            <a:r>
              <a:rPr lang="en-US" dirty="0"/>
              <a:t>UNICLASS CLASS is instance data. We can </a:t>
            </a:r>
            <a:r>
              <a:rPr lang="en-US" dirty="0" err="1"/>
              <a:t>sugg</a:t>
            </a:r>
            <a:endParaRPr lang="en-US" dirty="0"/>
          </a:p>
          <a:p>
            <a:endParaRPr lang="en-US" dirty="0"/>
          </a:p>
          <a:p>
            <a:r>
              <a:rPr lang="en-US" dirty="0"/>
              <a:t>BIS for UNICLASS people… </a:t>
            </a:r>
          </a:p>
          <a:p>
            <a:r>
              <a:rPr lang="en-US" dirty="0"/>
              <a:t>BIS for </a:t>
            </a:r>
            <a:r>
              <a:rPr lang="en-US" dirty="0" err="1"/>
              <a:t>OnmiClass</a:t>
            </a:r>
            <a:r>
              <a:rPr lang="en-US" dirty="0"/>
              <a:t> people</a:t>
            </a:r>
          </a:p>
          <a:p>
            <a:r>
              <a:rPr lang="en-US" dirty="0"/>
              <a:t>BIS for IFC peop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054671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919934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760632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00537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2196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80860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90875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25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0843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BDBA0-188A-4863-B2FC-89AA09074A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025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DE1C9-F4B1-40F9-AB97-6635F0E8AB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074D66-AF6F-488D-A021-EFEB7DF3C3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FA270F-4510-47AA-8478-C3E67F6081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DEA0D9-56AA-452F-9170-295BABC5BB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DEA48F-E5CF-4CC0-AD83-2E8F8DF63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9086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B3FA4-743B-40A9-8783-F022464C8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15D4328-17D4-49E8-80E0-A5DAD6F0EF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0F4F45-6DC0-4A75-BFD7-29E921723A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554DFB-7A78-4C3E-A828-76B4AC0B0B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C11E04-500A-4EB3-BE23-AD1897ADB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2010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B383161-2789-4F2B-B7FE-178D616739A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09F514-FA9F-4108-9A42-99168A4F33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E4322C-21F5-493B-BD1E-D73B94BC0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625091-6FCC-4ACF-9F01-AA636C3798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85C7DD-6E8A-4805-B032-5D910ABFC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8649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Main Corp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114300"/>
            <a:ext cx="12192003" cy="59436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588" y="5686446"/>
            <a:ext cx="12188825" cy="1171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1"/>
          <p:cNvSpPr txBox="1">
            <a:spLocks/>
          </p:cNvSpPr>
          <p:nvPr userDrawn="1"/>
        </p:nvSpPr>
        <p:spPr>
          <a:xfrm>
            <a:off x="9397861" y="6599502"/>
            <a:ext cx="2548332" cy="268287"/>
          </a:xfrm>
          <a:prstGeom prst="rect">
            <a:avLst/>
          </a:prstGeom>
        </p:spPr>
        <p:txBody>
          <a:bodyPr lIns="121899" tIns="60949" rIns="121899" bIns="60949"/>
          <a:lstStyle>
            <a:lvl1pPr>
              <a:defRPr sz="800"/>
            </a:lvl1pPr>
          </a:lstStyle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 2017 Bentley</a:t>
            </a:r>
            <a:r>
              <a:rPr lang="en-US" sz="8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Systems, Incorporated</a:t>
            </a:r>
            <a:endParaRPr lang="en-US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3273004"/>
            <a:ext cx="12188825" cy="24134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90000"/>
                </a:srgbClr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Box_InnerShad.png"/>
          <p:cNvPicPr>
            <a:picLocks noChangeAspect="1"/>
          </p:cNvPicPr>
          <p:nvPr userDrawn="1"/>
        </p:nvPicPr>
        <p:blipFill>
          <a:blip r:embed="rId3">
            <a:alphaModFix am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5734009"/>
            <a:ext cx="12188825" cy="404069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588" y="0"/>
            <a:ext cx="12188825" cy="4273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8095" y="5858392"/>
            <a:ext cx="1979103" cy="459184"/>
          </a:xfrm>
          <a:prstGeom prst="rect">
            <a:avLst/>
          </a:prstGeom>
        </p:spPr>
      </p:pic>
      <p:grpSp>
        <p:nvGrpSpPr>
          <p:cNvPr id="16" name="Group 15"/>
          <p:cNvGrpSpPr/>
          <p:nvPr userDrawn="1"/>
        </p:nvGrpSpPr>
        <p:grpSpPr>
          <a:xfrm>
            <a:off x="-1" y="427305"/>
            <a:ext cx="12190414" cy="407515"/>
            <a:chOff x="-1" y="695590"/>
            <a:chExt cx="12190414" cy="407515"/>
          </a:xfrm>
        </p:grpSpPr>
        <p:pic>
          <p:nvPicPr>
            <p:cNvPr id="17" name="Picture 16" descr="Box_InnerShad.png"/>
            <p:cNvPicPr>
              <a:picLocks noChangeAspect="1"/>
            </p:cNvPicPr>
            <p:nvPr userDrawn="1"/>
          </p:nvPicPr>
          <p:blipFill>
            <a:blip r:embed="rId3">
              <a:alphaModFix am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8" y="698090"/>
              <a:ext cx="12188825" cy="404069"/>
            </a:xfrm>
            <a:prstGeom prst="rect">
              <a:avLst/>
            </a:prstGeom>
          </p:spPr>
        </p:pic>
        <p:pic>
          <p:nvPicPr>
            <p:cNvPr id="18" name="Picture 17" descr="Box_InnerShad.png"/>
            <p:cNvPicPr>
              <a:picLocks noChangeAspect="1"/>
            </p:cNvPicPr>
            <p:nvPr userDrawn="1"/>
          </p:nvPicPr>
          <p:blipFill>
            <a:blip r:embed="rId3">
              <a:alphaModFix am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8" y="699036"/>
              <a:ext cx="12188825" cy="404069"/>
            </a:xfrm>
            <a:prstGeom prst="rect">
              <a:avLst/>
            </a:prstGeom>
          </p:spPr>
        </p:pic>
        <p:pic>
          <p:nvPicPr>
            <p:cNvPr id="19" name="Picture 18" descr="Box_InnerShad.png"/>
            <p:cNvPicPr>
              <a:picLocks noChangeAspect="1"/>
            </p:cNvPicPr>
            <p:nvPr userDrawn="1"/>
          </p:nvPicPr>
          <p:blipFill>
            <a:blip r:embed="rId3">
              <a:alphaModFix amt="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" y="695590"/>
              <a:ext cx="12188825" cy="404069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3192" y="4041648"/>
            <a:ext cx="11411712" cy="1563624"/>
          </a:xfrm>
        </p:spPr>
        <p:txBody>
          <a:bodyPr lIns="0" tIns="64008" rIns="118872" bIns="64008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3192" y="5852160"/>
            <a:ext cx="8723376" cy="731520"/>
          </a:xfrm>
        </p:spPr>
        <p:txBody>
          <a:bodyPr lIns="0" tIns="64008" rIns="118872" bIns="64008">
            <a:normAutofit/>
          </a:bodyPr>
          <a:lstStyle>
            <a:lvl1pPr marL="0" indent="0" algn="l"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2505110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ody - Title +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241008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Body - Title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2064" y="1444752"/>
            <a:ext cx="5285232" cy="46451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2512" y="1444752"/>
            <a:ext cx="5285232" cy="46451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004167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- Title + 1 Content / 1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2064" y="1444752"/>
            <a:ext cx="5285232" cy="46451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6386027" y="1447800"/>
            <a:ext cx="5281824" cy="4648200"/>
          </a:xfrm>
          <a:solidFill>
            <a:schemeClr val="bg2">
              <a:lumMod val="40000"/>
              <a:lumOff val="60000"/>
            </a:schemeClr>
          </a:solidFill>
        </p:spPr>
        <p:txBody>
          <a:bodyPr bIns="975189" anchor="ctr" anchorCtr="1"/>
          <a:lstStyle>
            <a:lvl1pPr marL="0" indent="0">
              <a:buNone/>
              <a:defRPr baseline="0"/>
            </a:lvl1pPr>
          </a:lstStyle>
          <a:p>
            <a:r>
              <a:rPr lang="en-US" dirty="0"/>
              <a:t>Graphic / Photo</a:t>
            </a:r>
          </a:p>
        </p:txBody>
      </p:sp>
    </p:spTree>
    <p:extLst>
      <p:ext uri="{BB962C8B-B14F-4D97-AF65-F5344CB8AC3E}">
        <p14:creationId xmlns:p14="http://schemas.microsoft.com/office/powerpoint/2010/main" val="371281925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- Title + 1 Graphic / 1 Content Graphic /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2512" y="1444752"/>
            <a:ext cx="5285232" cy="46451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507868" y="1447800"/>
            <a:ext cx="5281824" cy="4648200"/>
          </a:xfrm>
          <a:solidFill>
            <a:schemeClr val="bg2">
              <a:lumMod val="40000"/>
              <a:lumOff val="60000"/>
            </a:schemeClr>
          </a:solidFill>
        </p:spPr>
        <p:txBody>
          <a:bodyPr bIns="975189" anchor="ctr" anchorCtr="1"/>
          <a:lstStyle>
            <a:lvl1pPr marL="0" indent="0">
              <a:buNone/>
              <a:defRPr baseline="0"/>
            </a:lvl1pPr>
          </a:lstStyle>
          <a:p>
            <a:r>
              <a:rPr lang="en-US" dirty="0"/>
              <a:t>Graphic / Photo</a:t>
            </a:r>
          </a:p>
        </p:txBody>
      </p:sp>
    </p:spTree>
    <p:extLst>
      <p:ext uri="{BB962C8B-B14F-4D97-AF65-F5344CB8AC3E}">
        <p14:creationId xmlns:p14="http://schemas.microsoft.com/office/powerpoint/2010/main" val="367319434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ody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691282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dy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628783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07A0D-29F1-4AE0-8C2B-5FCC5A96B4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743BF8-CFD1-442A-BBFB-4D7A5A587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71" indent="0" algn="ctr">
              <a:buNone/>
              <a:defRPr sz="1999"/>
            </a:lvl2pPr>
            <a:lvl3pPr marL="913943" indent="0" algn="ctr">
              <a:buNone/>
              <a:defRPr sz="1799"/>
            </a:lvl3pPr>
            <a:lvl4pPr marL="1370914" indent="0" algn="ctr">
              <a:buNone/>
              <a:defRPr sz="1599"/>
            </a:lvl4pPr>
            <a:lvl5pPr marL="1827886" indent="0" algn="ctr">
              <a:buNone/>
              <a:defRPr sz="1599"/>
            </a:lvl5pPr>
            <a:lvl6pPr marL="2284857" indent="0" algn="ctr">
              <a:buNone/>
              <a:defRPr sz="1599"/>
            </a:lvl6pPr>
            <a:lvl7pPr marL="2741828" indent="0" algn="ctr">
              <a:buNone/>
              <a:defRPr sz="1599"/>
            </a:lvl7pPr>
            <a:lvl8pPr marL="3198800" indent="0" algn="ctr">
              <a:buNone/>
              <a:defRPr sz="1599"/>
            </a:lvl8pPr>
            <a:lvl9pPr marL="3655771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E54A0D-87C3-4852-BD99-660E07417A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3825F6-DFE8-41BC-9DA1-F1D7FF63A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FE52ED-8491-40CB-8D7F-3EB8BF84C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6945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D3539A-90F3-4DB4-BAC7-88E0E05CB9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3C4D1A-7D8E-453D-A1C2-258FFE1B80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31036D-E4EA-47AA-A45B-F6ABD2E94F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D46EDA-8947-4D56-8E97-0C7472998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7753BF-9FDF-47C1-890E-B7C2C464B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152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51E375-B3D0-48BA-A5C0-AAAF813D5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713AF7-4164-4F4C-B93A-710A7FB1D2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D6BA68-02A2-40EE-8342-C660A152A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C339E5-D7AE-4470-82CA-A386A1830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7FF001-1A4C-4AD3-8531-470BC0996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4188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B25F2-A937-4E69-92E5-EFF6F0293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599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B00D67-2447-451A-B52F-75880F7A4C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71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4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914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4pPr>
            <a:lvl5pPr marL="1827886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5pPr>
            <a:lvl6pPr marL="2284857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6pPr>
            <a:lvl7pPr marL="2741828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7pPr>
            <a:lvl8pPr marL="319880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8pPr>
            <a:lvl9pPr marL="3655771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2D7637-F4F4-4088-920A-867CBD9D44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E812A0-6F0D-4804-AF93-376EE9092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BF14E6-6A28-4B98-AE64-CB6195E47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376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3BA86B-3D9E-4DCE-BCAD-6FBB75F6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15270B-0449-455C-A1A1-28690066E9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0A019C-209A-4B6E-81ED-C80D682CF9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57B514-C9F9-4A9B-910E-76ECC6F4F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FF1703-1841-4E4B-AEBC-F055A6F81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7810F7-E1E4-4E1D-A5B9-0D73C41DC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6929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6D75B1-BF68-4F02-BC3C-26DA5D7171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74F226-0CF2-4719-922C-536C602D92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1" indent="0">
              <a:buNone/>
              <a:defRPr sz="1999" b="1"/>
            </a:lvl2pPr>
            <a:lvl3pPr marL="913943" indent="0">
              <a:buNone/>
              <a:defRPr sz="1799" b="1"/>
            </a:lvl3pPr>
            <a:lvl4pPr marL="1370914" indent="0">
              <a:buNone/>
              <a:defRPr sz="1599" b="1"/>
            </a:lvl4pPr>
            <a:lvl5pPr marL="1827886" indent="0">
              <a:buNone/>
              <a:defRPr sz="1599" b="1"/>
            </a:lvl5pPr>
            <a:lvl6pPr marL="2284857" indent="0">
              <a:buNone/>
              <a:defRPr sz="1599" b="1"/>
            </a:lvl6pPr>
            <a:lvl7pPr marL="2741828" indent="0">
              <a:buNone/>
              <a:defRPr sz="1599" b="1"/>
            </a:lvl7pPr>
            <a:lvl8pPr marL="3198800" indent="0">
              <a:buNone/>
              <a:defRPr sz="1599" b="1"/>
            </a:lvl8pPr>
            <a:lvl9pPr marL="3655771" indent="0">
              <a:buNone/>
              <a:defRPr sz="15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8F58EC-A0D9-494D-9099-70B1912D7C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490C17-17DE-4981-98A6-AFFA6A5775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1" indent="0">
              <a:buNone/>
              <a:defRPr sz="1999" b="1"/>
            </a:lvl2pPr>
            <a:lvl3pPr marL="913943" indent="0">
              <a:buNone/>
              <a:defRPr sz="1799" b="1"/>
            </a:lvl3pPr>
            <a:lvl4pPr marL="1370914" indent="0">
              <a:buNone/>
              <a:defRPr sz="1599" b="1"/>
            </a:lvl4pPr>
            <a:lvl5pPr marL="1827886" indent="0">
              <a:buNone/>
              <a:defRPr sz="1599" b="1"/>
            </a:lvl5pPr>
            <a:lvl6pPr marL="2284857" indent="0">
              <a:buNone/>
              <a:defRPr sz="1599" b="1"/>
            </a:lvl6pPr>
            <a:lvl7pPr marL="2741828" indent="0">
              <a:buNone/>
              <a:defRPr sz="1599" b="1"/>
            </a:lvl7pPr>
            <a:lvl8pPr marL="3198800" indent="0">
              <a:buNone/>
              <a:defRPr sz="1599" b="1"/>
            </a:lvl8pPr>
            <a:lvl9pPr marL="3655771" indent="0">
              <a:buNone/>
              <a:defRPr sz="159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CC1635C-5091-4755-963F-18F803688E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F20269-60FE-47EC-A2B7-61BA1FA74F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E48455-CA51-4BEA-B06F-69489A225E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7A3FD5E-6886-4402-9B39-F14B6F762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1880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086C1-4598-40DF-B357-C42DE4241D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A2B773-DD82-4D1B-A25B-2548723F01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49444F-8161-4F7E-A588-2FC5E3C573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294327-24EE-490C-BF1D-D13B36D638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6215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E1CE11-431F-4B15-B3A0-7D91B5AB6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696F52-DC5A-4ECA-B07C-3E91A251DB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4BDB2B-829D-4263-9F0B-F4153F785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258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3BEDE5-2D9F-4139-BA63-29DC255D4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AB0550-8A45-4957-A74F-D9D5127BEA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198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D826F1-24C3-4F92-8D05-36D672F73C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99"/>
            </a:lvl1pPr>
            <a:lvl2pPr marL="456971" indent="0">
              <a:buNone/>
              <a:defRPr sz="1399"/>
            </a:lvl2pPr>
            <a:lvl3pPr marL="913943" indent="0">
              <a:buNone/>
              <a:defRPr sz="1199"/>
            </a:lvl3pPr>
            <a:lvl4pPr marL="1370914" indent="0">
              <a:buNone/>
              <a:defRPr sz="999"/>
            </a:lvl4pPr>
            <a:lvl5pPr marL="1827886" indent="0">
              <a:buNone/>
              <a:defRPr sz="999"/>
            </a:lvl5pPr>
            <a:lvl6pPr marL="2284857" indent="0">
              <a:buNone/>
              <a:defRPr sz="999"/>
            </a:lvl6pPr>
            <a:lvl7pPr marL="2741828" indent="0">
              <a:buNone/>
              <a:defRPr sz="999"/>
            </a:lvl7pPr>
            <a:lvl8pPr marL="3198800" indent="0">
              <a:buNone/>
              <a:defRPr sz="999"/>
            </a:lvl8pPr>
            <a:lvl9pPr marL="3655771" indent="0">
              <a:buNone/>
              <a:defRPr sz="999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FF40B3-2A23-412E-91E5-32715CF1C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3BEAF9-C07C-4421-A1B3-C1C005162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31C7E5-D722-4980-A96F-121EC25F4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2668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46C33B-77B5-4447-83AC-C5AC05780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4278B2-A9D4-47A3-BFF8-2D509CD7434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198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051917-E6F5-4E4E-B6C4-DD5B2DD420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99"/>
            </a:lvl1pPr>
            <a:lvl2pPr marL="456971" indent="0">
              <a:buNone/>
              <a:defRPr sz="1399"/>
            </a:lvl2pPr>
            <a:lvl3pPr marL="913943" indent="0">
              <a:buNone/>
              <a:defRPr sz="1199"/>
            </a:lvl3pPr>
            <a:lvl4pPr marL="1370914" indent="0">
              <a:buNone/>
              <a:defRPr sz="999"/>
            </a:lvl4pPr>
            <a:lvl5pPr marL="1827886" indent="0">
              <a:buNone/>
              <a:defRPr sz="999"/>
            </a:lvl5pPr>
            <a:lvl6pPr marL="2284857" indent="0">
              <a:buNone/>
              <a:defRPr sz="999"/>
            </a:lvl6pPr>
            <a:lvl7pPr marL="2741828" indent="0">
              <a:buNone/>
              <a:defRPr sz="999"/>
            </a:lvl7pPr>
            <a:lvl8pPr marL="3198800" indent="0">
              <a:buNone/>
              <a:defRPr sz="999"/>
            </a:lvl8pPr>
            <a:lvl9pPr marL="3655771" indent="0">
              <a:buNone/>
              <a:defRPr sz="999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69A591-3FBE-4A76-978B-21DCBA3458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232F75-B8AA-4742-A568-691A0CF18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EB9554-8049-40ED-B056-EF597B94DE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3878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9AC25-C1D9-49F1-B5AD-F09B5710D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8E1ABB-A23A-4142-AC4D-7CB8A1B2F7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64D5C9-B231-4ECE-9D31-EE89FBABE9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A81EA8-A41A-42DA-8524-D24CEA581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6DA354-4FA1-406C-98AF-D4B5A1330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721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1D31E0D-74AB-43EE-A4F9-7E73D87D6C3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D9F884-8CEF-4CA1-8630-26574E9F0F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F9F45F-CFB6-425E-AF03-D8A9F7A2B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D94426-C9F0-46C1-A879-6095214D8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26908E-5523-4E2E-B3BD-F7582FE2E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8537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13B601-8C22-49B4-B1B9-7212A7FD4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F24A25-5363-4B26-A85C-B405781478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1F808C-2427-483A-BCC1-43FEF116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8A9D3E-D477-4817-B0CA-84EF639FB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4584B-2440-4133-9766-750BCE88B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3664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797714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43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CCCCCC"/>
          </p15:clr>
        </p15:guide>
        <p15:guide id="2" pos="7684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B21F9-BBFB-4A20-AAC2-94D8B4A2A2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4456FD-EE6F-4828-9188-38286292CB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760865-7CB9-4E1D-817E-A3D979D1F6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CFB71F-C427-4668-9AC3-67D51C584F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AD5881-F7CE-447E-9F16-DD8F8ED1B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5938FA-7CDC-492C-9F0B-424FA11E1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2609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BDA5C4-F21B-4B7A-BE4B-C7C053009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0882E1-6FB5-474F-B338-C03CD9B741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13CEC4-1EFB-4131-8411-CF00967CE9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BEF4DC-57A2-4F1B-86E4-3497FAEA48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2AA84A-1258-4078-816F-895D834A4F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E0A2DC-AD54-455E-A54F-A64B5D3753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C297ED-4BA2-4958-B84A-175153838B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F9E2B7-3624-45C7-A477-FF07578FF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9037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2C4486-3898-4B6C-B446-53CF3AFF22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274F6B-62D3-4DFE-BD49-9E361E99F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35D2BC-91BD-4E29-A8B8-8303BE3604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097469-52E9-43EB-9FE7-A9DC8B5A1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6790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76D788E-D65F-4713-867F-2C2826C0B4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A16CAF-8B39-43B1-9527-5A97826D42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95CAF2-906C-4B7B-B899-8AE1BFD9F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7631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00DBF-21F5-4DCF-ACE5-73192713C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FADAFC-AF26-47C3-9159-661F9F246E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B33AD1-633D-46CE-A500-A314DACA4F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B21BFD-0B1F-4EE4-9A80-2A1CDE455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564CBC-FDFA-46CA-BD24-F7D3B0EB25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CA8F0B-716D-478D-B5DB-395D8338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4338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1AE1A-1195-4C8C-BB5E-BA6AFF6CF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02442E-B518-42F3-8449-350F5361C2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FCAC52-F2E3-4D6A-B733-933EA2BDBD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3B7367-BE81-4A07-BDAC-EBE1FBE64B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404361-CB54-443F-8D47-85C318AAC9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96843C-5491-4D1B-8F67-5589C460F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3165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428BD2-8995-4475-BB40-671B82B45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CC3D4A-2A42-4B6B-B7A1-71AE14E49C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D39A2B-2775-4D9F-A761-AF4EEBF136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C47F25-34DE-4D51-A310-3F6D1EC2F46F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96C06D-0D1F-43E1-A58A-CAE61ACFEB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F3014B-D2EC-4536-98C5-9D325DA028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47ED1F-F128-4849-86FC-F8CCEB4158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164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758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453896"/>
            <a:ext cx="11173968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7" name="Slide Number Placeholder 1"/>
          <p:cNvSpPr txBox="1">
            <a:spLocks/>
          </p:cNvSpPr>
          <p:nvPr userDrawn="1"/>
        </p:nvSpPr>
        <p:spPr>
          <a:xfrm>
            <a:off x="45603" y="6549958"/>
            <a:ext cx="5727875" cy="268287"/>
          </a:xfrm>
          <a:prstGeom prst="rect">
            <a:avLst/>
          </a:prstGeom>
        </p:spPr>
        <p:txBody>
          <a:bodyPr lIns="121899" tIns="60949" rIns="121899" bIns="60949"/>
          <a:lstStyle>
            <a:lvl1pPr>
              <a:defRPr sz="800"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01AE62-ACEE-4CBF-ABCE-6DEA53F53216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  WWW.BENTLEY.COM    |   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 2017 Bentley</a:t>
            </a:r>
            <a:r>
              <a:rPr lang="en-US" sz="800" baseline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Systems, Incorporated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446" y="6537362"/>
            <a:ext cx="974463" cy="226745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919938" y="6530837"/>
            <a:ext cx="65934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C00000"/>
                </a:solidFill>
              </a:rPr>
              <a:t>Confidential and Proprietary Information of Bentley Systems, Incorporated</a:t>
            </a:r>
          </a:p>
        </p:txBody>
      </p:sp>
    </p:spTree>
    <p:extLst>
      <p:ext uri="{BB962C8B-B14F-4D97-AF65-F5344CB8AC3E}">
        <p14:creationId xmlns:p14="http://schemas.microsoft.com/office/powerpoint/2010/main" val="545060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301752" algn="l" defTabSz="914400" rtl="0" eaLnBrk="1" latinLnBrk="0" hangingPunct="1">
        <a:lnSpc>
          <a:spcPct val="90000"/>
        </a:lnSpc>
        <a:spcBef>
          <a:spcPts val="800"/>
        </a:spcBef>
        <a:buClr>
          <a:schemeClr val="accent3"/>
        </a:buClr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3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137160" algn="l" defTabSz="914400" rtl="0" eaLnBrk="1" latinLnBrk="0" hangingPunct="1">
        <a:lnSpc>
          <a:spcPct val="90000"/>
        </a:lnSpc>
        <a:spcBef>
          <a:spcPts val="80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62890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accent3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8B7672-2E5A-4B05-8C29-FC6AB4900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A63577-395F-4783-941C-45C3E79549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90B550-81F3-4CBE-9206-8FDD505836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AEDA48-5604-4296-AD59-940FCAAAFF89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CDB465-BA94-4AB9-934A-5EF18D4DF0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C7C320-6778-4024-AEC9-598E5ED578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9FED0C-BAD7-49EB-ABC0-9184093C1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179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</p:sldLayoutIdLst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43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86" indent="-228486" algn="l" defTabSz="913943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457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429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400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371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343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toolkit.thenbs.com/articles/classification" TargetMode="Externa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web.microsoftstream.com/video/ef9a4fae-31fd-44d0-ad02-ec8a3acba14a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web.microsoftstream.com/video/b9bc8e76-554e-4ed7-9a1c-ce87e5243ed4" TargetMode="Externa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5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toolkit.thenbs.com/articles/classification" TargetMode="Externa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6.jpeg"/><Relationship Id="rId4" Type="http://schemas.openxmlformats.org/officeDocument/2006/relationships/hyperlink" Target="https://toolkit.thenbs.com/articles/classification" TargetMode="Externa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4" Type="http://schemas.openxmlformats.org/officeDocument/2006/relationships/hyperlink" Target="https://toolkit.thenbs.com/articles/classification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toolkit.thenbs.com/articles/classification" TargetMode="External"/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hyperlink" Target="https://bentley.sharepoint.com/sites/BISWorkingGroup/_layouts/OneNote.aspx?id=/sites/BISWorkingGroup/Shared%20Documents/General/BWG%20Notebook&amp;wd=target(Standards-Driven%20Design.one|F5A12754-337E-4D65-AB76-3E8333BA070B/Example%20-%20Spatial%20Modeling|B6C4EEE0-344C-4D04-9168-B718ACCF7BCF/)" TargetMode="External"/><Relationship Id="rId2" Type="http://schemas.openxmlformats.org/officeDocument/2006/relationships/hyperlink" Target="onenote:https://bentley.sharepoint.com/sites/BISWorkingGroup/Shared%20Documents/General/BWG%20Notebook/Standards-Driven%20Design.one#Example%20-%20Spatial%20Modeling&amp;section-id={F5A12754-337E-4D65-AB76-3E8333BA070B}&amp;page-id={B6C4EEE0-344C-4D04-9168-B718ACCF7BCF}&amp;end" TargetMode="External"/><Relationship Id="rId1" Type="http://schemas.openxmlformats.org/officeDocument/2006/relationships/slideLayout" Target="../slideLayouts/slideLayout1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BE06E-C4C4-4EAF-A94B-D1C68FD5086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odeling with B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D32B83-11E2-404A-9F88-7A6077F8432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odeling for a Digital Twin</a:t>
            </a:r>
          </a:p>
        </p:txBody>
      </p:sp>
    </p:spTree>
    <p:extLst>
      <p:ext uri="{BB962C8B-B14F-4D97-AF65-F5344CB8AC3E}">
        <p14:creationId xmlns:p14="http://schemas.microsoft.com/office/powerpoint/2010/main" val="24985285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id="{B9D48AEC-8D5E-4B42-993D-9870892F0716}"/>
              </a:ext>
            </a:extLst>
          </p:cNvPr>
          <p:cNvGrpSpPr/>
          <p:nvPr/>
        </p:nvGrpSpPr>
        <p:grpSpPr>
          <a:xfrm>
            <a:off x="8143142" y="2544432"/>
            <a:ext cx="1181417" cy="1114886"/>
            <a:chOff x="8990086" y="2542565"/>
            <a:chExt cx="1181417" cy="1114886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C3D85FF0-ED51-4166-BB52-54F88152724D}"/>
                </a:ext>
              </a:extLst>
            </p:cNvPr>
            <p:cNvGrpSpPr/>
            <p:nvPr/>
          </p:nvGrpSpPr>
          <p:grpSpPr>
            <a:xfrm>
              <a:off x="8990086" y="2542565"/>
              <a:ext cx="1181417" cy="1114886"/>
              <a:chOff x="3094823" y="4030487"/>
              <a:chExt cx="2744314" cy="258976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0FDE4523-1B98-41DF-A98A-05CF30E5B721}"/>
                  </a:ext>
                </a:extLst>
              </p:cNvPr>
              <p:cNvSpPr/>
              <p:nvPr/>
            </p:nvSpPr>
            <p:spPr>
              <a:xfrm rot="16200000" flipV="1">
                <a:off x="2670763" y="5030286"/>
                <a:ext cx="2014029" cy="1165910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2BCA317C-2A9F-40C0-AA09-09F327C74EC9}"/>
                  </a:ext>
                </a:extLst>
              </p:cNvPr>
              <p:cNvSpPr/>
              <p:nvPr/>
            </p:nvSpPr>
            <p:spPr>
              <a:xfrm rot="12600000" flipV="1">
                <a:off x="3249914" y="4030487"/>
                <a:ext cx="2014029" cy="1165912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357FEB7-429D-45F6-A68E-76239F87605D}"/>
                  </a:ext>
                </a:extLst>
              </p:cNvPr>
              <p:cNvSpPr/>
              <p:nvPr/>
            </p:nvSpPr>
            <p:spPr>
              <a:xfrm rot="19800000" flipV="1">
                <a:off x="3825108" y="5033334"/>
                <a:ext cx="2014029" cy="1165912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3864487-1A0F-41F3-86C0-F0912724DC30}"/>
                </a:ext>
              </a:extLst>
            </p:cNvPr>
            <p:cNvSpPr txBox="1"/>
            <p:nvPr/>
          </p:nvSpPr>
          <p:spPr>
            <a:xfrm>
              <a:off x="9308595" y="2607589"/>
              <a:ext cx="3173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s are collections of Element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C0CA07C-5A11-4C70-BF4D-DE551FB40688}"/>
              </a:ext>
            </a:extLst>
          </p:cNvPr>
          <p:cNvSpPr txBox="1"/>
          <p:nvPr/>
        </p:nvSpPr>
        <p:spPr>
          <a:xfrm>
            <a:off x="3372127" y="2540740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556A0C-6168-43E7-8FDE-794808F4B9A1}"/>
              </a:ext>
            </a:extLst>
          </p:cNvPr>
          <p:cNvGrpSpPr/>
          <p:nvPr/>
        </p:nvGrpSpPr>
        <p:grpSpPr>
          <a:xfrm>
            <a:off x="7652555" y="4045227"/>
            <a:ext cx="1181417" cy="1114886"/>
            <a:chOff x="3094823" y="4030487"/>
            <a:chExt cx="2744314" cy="2589768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896BE30-1263-4714-95E4-E9FBBA3D2BC4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0718C67-CD77-4A29-A5A2-36EC083428DC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7024CE-D118-4519-9071-1141616FD34F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0090C00-1560-4489-A083-613104D3AFC7}"/>
              </a:ext>
            </a:extLst>
          </p:cNvPr>
          <p:cNvGrpSpPr/>
          <p:nvPr/>
        </p:nvGrpSpPr>
        <p:grpSpPr>
          <a:xfrm>
            <a:off x="9537468" y="3508246"/>
            <a:ext cx="1181417" cy="1114886"/>
            <a:chOff x="3094823" y="4030487"/>
            <a:chExt cx="2744314" cy="258976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63CFF34-E876-460A-B4B6-8CAFAC9F38E9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2981C27-31F2-475B-9682-84B08CCD0DCF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9455C09-1414-41F6-AA14-725A58CA56A4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718A0E6-091A-45D0-BF4D-A04D6EBE660B}"/>
              </a:ext>
            </a:extLst>
          </p:cNvPr>
          <p:cNvSpPr/>
          <p:nvPr/>
        </p:nvSpPr>
        <p:spPr>
          <a:xfrm>
            <a:off x="4813881" y="2710482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AA2ACD2-2FC1-4B7D-97E4-147EE5F08CC2}"/>
              </a:ext>
            </a:extLst>
          </p:cNvPr>
          <p:cNvSpPr/>
          <p:nvPr/>
        </p:nvSpPr>
        <p:spPr>
          <a:xfrm>
            <a:off x="2577062" y="2710482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1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94D1A7A2-A027-4E43-936F-F197D897EC93}"/>
              </a:ext>
            </a:extLst>
          </p:cNvPr>
          <p:cNvCxnSpPr>
            <a:cxnSpLocks/>
            <a:stCxn id="49" idx="3"/>
            <a:endCxn id="45" idx="1"/>
          </p:cNvCxnSpPr>
          <p:nvPr/>
        </p:nvCxnSpPr>
        <p:spPr>
          <a:xfrm>
            <a:off x="3020689" y="2863716"/>
            <a:ext cx="1793192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AB2203FC-4B4D-42D4-BFB8-A29131651736}"/>
              </a:ext>
            </a:extLst>
          </p:cNvPr>
          <p:cNvSpPr txBox="1"/>
          <p:nvPr/>
        </p:nvSpPr>
        <p:spPr>
          <a:xfrm>
            <a:off x="3360512" y="3435853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89C73876-169E-4460-AC3E-FE4A8016E804}"/>
              </a:ext>
            </a:extLst>
          </p:cNvPr>
          <p:cNvSpPr/>
          <p:nvPr/>
        </p:nvSpPr>
        <p:spPr>
          <a:xfrm>
            <a:off x="4813881" y="3611777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2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B7E39279-10D7-40D5-8338-D1254AD04562}"/>
              </a:ext>
            </a:extLst>
          </p:cNvPr>
          <p:cNvSpPr/>
          <p:nvPr/>
        </p:nvSpPr>
        <p:spPr>
          <a:xfrm>
            <a:off x="2577062" y="3611777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2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126D3DAB-114C-454A-A765-E607EBB247EF}"/>
              </a:ext>
            </a:extLst>
          </p:cNvPr>
          <p:cNvCxnSpPr>
            <a:cxnSpLocks/>
            <a:stCxn id="53" idx="3"/>
            <a:endCxn id="52" idx="1"/>
          </p:cNvCxnSpPr>
          <p:nvPr/>
        </p:nvCxnSpPr>
        <p:spPr>
          <a:xfrm>
            <a:off x="3020689" y="3765011"/>
            <a:ext cx="1793192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B67DE785-9F7A-489E-86A9-CE578F0EE2EC}"/>
              </a:ext>
            </a:extLst>
          </p:cNvPr>
          <p:cNvSpPr txBox="1"/>
          <p:nvPr/>
        </p:nvSpPr>
        <p:spPr>
          <a:xfrm>
            <a:off x="3372127" y="447629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A99AD951-3AB2-40CC-B2AC-2E94FDBC70FB}"/>
              </a:ext>
            </a:extLst>
          </p:cNvPr>
          <p:cNvSpPr/>
          <p:nvPr/>
        </p:nvSpPr>
        <p:spPr>
          <a:xfrm>
            <a:off x="4813881" y="4646037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3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58D35847-D44B-4611-8A2F-94386DF0CD43}"/>
              </a:ext>
            </a:extLst>
          </p:cNvPr>
          <p:cNvSpPr/>
          <p:nvPr/>
        </p:nvSpPr>
        <p:spPr>
          <a:xfrm>
            <a:off x="2577062" y="4646037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3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E377592-286F-4989-A17D-9D48E2E61675}"/>
              </a:ext>
            </a:extLst>
          </p:cNvPr>
          <p:cNvCxnSpPr>
            <a:cxnSpLocks/>
            <a:stCxn id="57" idx="3"/>
            <a:endCxn id="56" idx="1"/>
          </p:cNvCxnSpPr>
          <p:nvPr/>
        </p:nvCxnSpPr>
        <p:spPr>
          <a:xfrm>
            <a:off x="3020689" y="4799271"/>
            <a:ext cx="1793192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76667FA-4477-4853-8B6E-73AE67495E70}"/>
              </a:ext>
            </a:extLst>
          </p:cNvPr>
          <p:cNvSpPr txBox="1"/>
          <p:nvPr/>
        </p:nvSpPr>
        <p:spPr>
          <a:xfrm>
            <a:off x="8462286" y="2607589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05A7C73-B627-463B-AB04-71C5A4904E82}"/>
              </a:ext>
            </a:extLst>
          </p:cNvPr>
          <p:cNvSpPr txBox="1"/>
          <p:nvPr/>
        </p:nvSpPr>
        <p:spPr>
          <a:xfrm>
            <a:off x="7968354" y="4106522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C3DC733-B9EA-4BDE-9056-F5B4C1E0B4B0}"/>
              </a:ext>
            </a:extLst>
          </p:cNvPr>
          <p:cNvSpPr txBox="1"/>
          <p:nvPr/>
        </p:nvSpPr>
        <p:spPr>
          <a:xfrm>
            <a:off x="9872040" y="3547639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E3038FB-7E39-44B7-B646-36FA93E4A4E6}"/>
              </a:ext>
            </a:extLst>
          </p:cNvPr>
          <p:cNvSpPr/>
          <p:nvPr/>
        </p:nvSpPr>
        <p:spPr>
          <a:xfrm>
            <a:off x="4414307" y="2424458"/>
            <a:ext cx="1251332" cy="2732645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0CFF1CFF-ECB3-4819-8856-0244419057BB}"/>
              </a:ext>
            </a:extLst>
          </p:cNvPr>
          <p:cNvSpPr/>
          <p:nvPr/>
        </p:nvSpPr>
        <p:spPr>
          <a:xfrm>
            <a:off x="2173209" y="2424458"/>
            <a:ext cx="1251332" cy="2732645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ECBBB4D-73DE-4355-ABCE-2D4DBCD4E039}"/>
              </a:ext>
            </a:extLst>
          </p:cNvPr>
          <p:cNvSpPr txBox="1"/>
          <p:nvPr/>
        </p:nvSpPr>
        <p:spPr>
          <a:xfrm>
            <a:off x="2032197" y="2134976"/>
            <a:ext cx="1738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FunctionalMode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4FEE125-B2D1-4CD3-AF41-DE53A258A25D}"/>
              </a:ext>
            </a:extLst>
          </p:cNvPr>
          <p:cNvSpPr txBox="1"/>
          <p:nvPr/>
        </p:nvSpPr>
        <p:spPr>
          <a:xfrm>
            <a:off x="4247822" y="2102313"/>
            <a:ext cx="1738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3"/>
                </a:solidFill>
              </a:rPr>
              <a:t>PhysicalModel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02D245E-5EAC-4E0E-8E2F-9E9DFEF9BC7D}"/>
              </a:ext>
            </a:extLst>
          </p:cNvPr>
          <p:cNvGrpSpPr/>
          <p:nvPr/>
        </p:nvGrpSpPr>
        <p:grpSpPr>
          <a:xfrm>
            <a:off x="7421438" y="1816762"/>
            <a:ext cx="3328289" cy="3434464"/>
            <a:chOff x="7421438" y="796949"/>
            <a:chExt cx="3328289" cy="5495363"/>
          </a:xfrm>
        </p:grpSpPr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516C323D-8966-4F48-B356-93EE5BC2617B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467B36AF-FA03-4367-8C2E-5B98C54FB748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D71831C-E2AD-4DD5-BD72-E0AAE0B20614}"/>
              </a:ext>
            </a:extLst>
          </p:cNvPr>
          <p:cNvGrpSpPr/>
          <p:nvPr/>
        </p:nvGrpSpPr>
        <p:grpSpPr>
          <a:xfrm>
            <a:off x="1760706" y="1816762"/>
            <a:ext cx="4157209" cy="3434464"/>
            <a:chOff x="196828" y="890805"/>
            <a:chExt cx="4523821" cy="5495363"/>
          </a:xfrm>
        </p:grpSpPr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86E4AC2D-0E80-48FC-9499-F629E05DB4D4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02006DA-F10C-4D92-9B81-1E0F66A1C8CB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20562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  <p:bldP spid="52" grpId="0" animBg="1"/>
      <p:bldP spid="53" grpId="0" animBg="1"/>
      <p:bldP spid="55" grpId="0"/>
      <p:bldP spid="56" grpId="0" animBg="1"/>
      <p:bldP spid="57" grpId="0" animBg="1"/>
      <p:bldP spid="59" grpId="0"/>
      <p:bldP spid="60" grpId="0"/>
      <p:bldP spid="5" grpId="0" animBg="1"/>
      <p:bldP spid="42" grpId="0" animBg="1"/>
      <p:bldP spid="43" grpId="0"/>
      <p:bldP spid="4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s sub-model “larger” Elemen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6667FA-4477-4853-8B6E-73AE67495E70}"/>
              </a:ext>
            </a:extLst>
          </p:cNvPr>
          <p:cNvSpPr txBox="1"/>
          <p:nvPr/>
        </p:nvSpPr>
        <p:spPr>
          <a:xfrm>
            <a:off x="9308595" y="337371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C3DC733-B9EA-4BDE-9056-F5B4C1E0B4B0}"/>
              </a:ext>
            </a:extLst>
          </p:cNvPr>
          <p:cNvSpPr txBox="1"/>
          <p:nvPr/>
        </p:nvSpPr>
        <p:spPr>
          <a:xfrm>
            <a:off x="10718349" y="431376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003A512-C78D-4585-98DA-9F23A18CA65F}"/>
              </a:ext>
            </a:extLst>
          </p:cNvPr>
          <p:cNvSpPr/>
          <p:nvPr/>
        </p:nvSpPr>
        <p:spPr>
          <a:xfrm>
            <a:off x="7538354" y="3267997"/>
            <a:ext cx="3097957" cy="2969336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143EA5-7747-4086-A255-4690C88D5144}"/>
              </a:ext>
            </a:extLst>
          </p:cNvPr>
          <p:cNvGrpSpPr/>
          <p:nvPr/>
        </p:nvGrpSpPr>
        <p:grpSpPr>
          <a:xfrm>
            <a:off x="8679230" y="2493713"/>
            <a:ext cx="1181417" cy="1114886"/>
            <a:chOff x="3094823" y="4030487"/>
            <a:chExt cx="2744314" cy="258976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B3DD72-FB28-4FD7-A83A-3995E319FBAD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6BDEE1D-40B3-4872-AD0D-B7FFD6580AA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8D32885-E7F9-4212-A642-E4168539E3F3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B304619-852E-41A9-9A3A-9E7C9A8EB376}"/>
              </a:ext>
            </a:extLst>
          </p:cNvPr>
          <p:cNvSpPr txBox="1"/>
          <p:nvPr/>
        </p:nvSpPr>
        <p:spPr>
          <a:xfrm>
            <a:off x="9719085" y="180916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776EE2C-C928-48EC-93A7-4D976A1886F4}"/>
              </a:ext>
            </a:extLst>
          </p:cNvPr>
          <p:cNvSpPr txBox="1"/>
          <p:nvPr/>
        </p:nvSpPr>
        <p:spPr>
          <a:xfrm>
            <a:off x="3415152" y="2284504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BA642D6C-6692-43A3-BD5B-43994681C532}"/>
              </a:ext>
            </a:extLst>
          </p:cNvPr>
          <p:cNvSpPr/>
          <p:nvPr/>
        </p:nvSpPr>
        <p:spPr>
          <a:xfrm>
            <a:off x="4835393" y="2454246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0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96EBE3D0-6B2B-4A80-B94F-19CD1A0DB0A4}"/>
              </a:ext>
            </a:extLst>
          </p:cNvPr>
          <p:cNvSpPr/>
          <p:nvPr/>
        </p:nvSpPr>
        <p:spPr>
          <a:xfrm>
            <a:off x="2481838" y="2454246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0</a:t>
            </a:r>
          </a:p>
        </p:txBody>
      </p: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CB3AF84-934A-4898-9F07-6B9BE9BCCCE3}"/>
              </a:ext>
            </a:extLst>
          </p:cNvPr>
          <p:cNvCxnSpPr>
            <a:cxnSpLocks/>
            <a:stCxn id="82" idx="3"/>
            <a:endCxn id="81" idx="1"/>
          </p:cNvCxnSpPr>
          <p:nvPr/>
        </p:nvCxnSpPr>
        <p:spPr>
          <a:xfrm>
            <a:off x="2925465" y="2607480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2471A43-F428-400B-8197-B93AE1946D45}"/>
              </a:ext>
            </a:extLst>
          </p:cNvPr>
          <p:cNvSpPr/>
          <p:nvPr/>
        </p:nvSpPr>
        <p:spPr>
          <a:xfrm>
            <a:off x="4435819" y="2168222"/>
            <a:ext cx="1251332" cy="878303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08668837-8979-4786-8B20-6C3C343054EA}"/>
              </a:ext>
            </a:extLst>
          </p:cNvPr>
          <p:cNvSpPr/>
          <p:nvPr/>
        </p:nvSpPr>
        <p:spPr>
          <a:xfrm>
            <a:off x="2077985" y="2168222"/>
            <a:ext cx="1251332" cy="878303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6FBDF38-B833-480C-A1E6-53DF4303E2BA}"/>
              </a:ext>
            </a:extLst>
          </p:cNvPr>
          <p:cNvSpPr txBox="1"/>
          <p:nvPr/>
        </p:nvSpPr>
        <p:spPr>
          <a:xfrm>
            <a:off x="2744175" y="3112383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2B188DAD-393E-4B1A-B23D-426957446B9B}"/>
              </a:ext>
            </a:extLst>
          </p:cNvPr>
          <p:cNvCxnSpPr>
            <a:cxnSpLocks/>
            <a:stCxn id="196" idx="0"/>
            <a:endCxn id="82" idx="2"/>
          </p:cNvCxnSpPr>
          <p:nvPr/>
        </p:nvCxnSpPr>
        <p:spPr>
          <a:xfrm flipV="1">
            <a:off x="2703651" y="2760713"/>
            <a:ext cx="1" cy="685151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8070A4A5-3796-4B03-B379-90A59C7FFAD7}"/>
              </a:ext>
            </a:extLst>
          </p:cNvPr>
          <p:cNvSpPr txBox="1"/>
          <p:nvPr/>
        </p:nvSpPr>
        <p:spPr>
          <a:xfrm>
            <a:off x="5032397" y="3076917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12D1AD1-9BAC-4B66-9C82-CC442857AB8B}"/>
              </a:ext>
            </a:extLst>
          </p:cNvPr>
          <p:cNvCxnSpPr>
            <a:cxnSpLocks/>
            <a:stCxn id="195" idx="0"/>
            <a:endCxn id="81" idx="2"/>
          </p:cNvCxnSpPr>
          <p:nvPr/>
        </p:nvCxnSpPr>
        <p:spPr>
          <a:xfrm flipV="1">
            <a:off x="5061485" y="2760713"/>
            <a:ext cx="1" cy="685151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CA99D101-03DA-464E-8C14-4F501E7D277B}"/>
              </a:ext>
            </a:extLst>
          </p:cNvPr>
          <p:cNvGrpSpPr/>
          <p:nvPr/>
        </p:nvGrpSpPr>
        <p:grpSpPr>
          <a:xfrm>
            <a:off x="8143777" y="3563971"/>
            <a:ext cx="1181417" cy="1114886"/>
            <a:chOff x="3094823" y="4030487"/>
            <a:chExt cx="2744314" cy="2589768"/>
          </a:xfrm>
        </p:grpSpPr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F26758D9-8D81-4DF2-A600-37A3215FED8F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C52D8A2D-2DA9-4CB5-9354-6A69C22DCB14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8EF2CC71-5D53-46EA-930C-E62183E1F20B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58877017-C9F8-4048-9D2F-63EE43944247}"/>
              </a:ext>
            </a:extLst>
          </p:cNvPr>
          <p:cNvSpPr txBox="1"/>
          <p:nvPr/>
        </p:nvSpPr>
        <p:spPr>
          <a:xfrm>
            <a:off x="3372127" y="3562146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931EDFB5-DD09-4C7B-9A72-4C12331CD005}"/>
              </a:ext>
            </a:extLst>
          </p:cNvPr>
          <p:cNvGrpSpPr/>
          <p:nvPr/>
        </p:nvGrpSpPr>
        <p:grpSpPr>
          <a:xfrm>
            <a:off x="7652555" y="5066633"/>
            <a:ext cx="1181417" cy="1114886"/>
            <a:chOff x="3094823" y="4030487"/>
            <a:chExt cx="2744314" cy="2589768"/>
          </a:xfrm>
        </p:grpSpPr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AE1CCC96-5E80-4673-890D-61AA733BA462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EAF0BBE6-22C0-449C-A08B-C65C8D8B37CE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4479A807-CE46-4706-887D-B0FA73E7DE10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84E3F6FB-9753-49B7-ADE7-5AA15375413E}"/>
              </a:ext>
            </a:extLst>
          </p:cNvPr>
          <p:cNvGrpSpPr/>
          <p:nvPr/>
        </p:nvGrpSpPr>
        <p:grpSpPr>
          <a:xfrm>
            <a:off x="9537468" y="4529652"/>
            <a:ext cx="1181417" cy="1114886"/>
            <a:chOff x="3094823" y="4030487"/>
            <a:chExt cx="2744314" cy="2589768"/>
          </a:xfrm>
        </p:grpSpPr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1AAB8F11-18D3-43DF-BB99-4A8591F67D18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A7810778-0C16-4C67-BEC1-7894D17AF517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FA91F3D4-5064-440C-BD9C-5A5EF3C64528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81" name="Rectangle: Rounded Corners 180">
            <a:extLst>
              <a:ext uri="{FF2B5EF4-FFF2-40B4-BE49-F238E27FC236}">
                <a16:creationId xmlns:a16="http://schemas.microsoft.com/office/drawing/2014/main" id="{D2312687-AA6A-456B-B951-A7A388E39B8D}"/>
              </a:ext>
            </a:extLst>
          </p:cNvPr>
          <p:cNvSpPr/>
          <p:nvPr/>
        </p:nvSpPr>
        <p:spPr>
          <a:xfrm>
            <a:off x="4835393" y="3731888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40F665F8-2B83-4911-9539-6FE14D86C168}"/>
              </a:ext>
            </a:extLst>
          </p:cNvPr>
          <p:cNvSpPr/>
          <p:nvPr/>
        </p:nvSpPr>
        <p:spPr>
          <a:xfrm>
            <a:off x="2481838" y="3731888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1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648B9B3C-5E92-44DE-AD33-0C45C4801C60}"/>
              </a:ext>
            </a:extLst>
          </p:cNvPr>
          <p:cNvCxnSpPr>
            <a:cxnSpLocks/>
            <a:stCxn id="182" idx="3"/>
            <a:endCxn id="181" idx="1"/>
          </p:cNvCxnSpPr>
          <p:nvPr/>
        </p:nvCxnSpPr>
        <p:spPr>
          <a:xfrm>
            <a:off x="2925465" y="3885122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C64CC1A8-D058-4591-97D9-868CDDFF9995}"/>
              </a:ext>
            </a:extLst>
          </p:cNvPr>
          <p:cNvSpPr txBox="1"/>
          <p:nvPr/>
        </p:nvSpPr>
        <p:spPr>
          <a:xfrm>
            <a:off x="3360512" y="445725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85" name="Rectangle: Rounded Corners 184">
            <a:extLst>
              <a:ext uri="{FF2B5EF4-FFF2-40B4-BE49-F238E27FC236}">
                <a16:creationId xmlns:a16="http://schemas.microsoft.com/office/drawing/2014/main" id="{395EB5B4-74D2-46F9-80C3-B857E600A7BD}"/>
              </a:ext>
            </a:extLst>
          </p:cNvPr>
          <p:cNvSpPr/>
          <p:nvPr/>
        </p:nvSpPr>
        <p:spPr>
          <a:xfrm>
            <a:off x="4835393" y="4633183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2</a:t>
            </a:r>
          </a:p>
        </p:txBody>
      </p:sp>
      <p:sp>
        <p:nvSpPr>
          <p:cNvPr id="186" name="Rectangle: Rounded Corners 185">
            <a:extLst>
              <a:ext uri="{FF2B5EF4-FFF2-40B4-BE49-F238E27FC236}">
                <a16:creationId xmlns:a16="http://schemas.microsoft.com/office/drawing/2014/main" id="{7348A645-E3F0-44FE-A755-355EB34A10B4}"/>
              </a:ext>
            </a:extLst>
          </p:cNvPr>
          <p:cNvSpPr/>
          <p:nvPr/>
        </p:nvSpPr>
        <p:spPr>
          <a:xfrm>
            <a:off x="2481838" y="4633183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2</a:t>
            </a:r>
          </a:p>
        </p:txBody>
      </p:sp>
      <p:cxnSp>
        <p:nvCxnSpPr>
          <p:cNvPr id="187" name="Straight Arrow Connector 186">
            <a:extLst>
              <a:ext uri="{FF2B5EF4-FFF2-40B4-BE49-F238E27FC236}">
                <a16:creationId xmlns:a16="http://schemas.microsoft.com/office/drawing/2014/main" id="{20AE6500-7576-4EEB-A165-07700FEC8A8F}"/>
              </a:ext>
            </a:extLst>
          </p:cNvPr>
          <p:cNvCxnSpPr>
            <a:cxnSpLocks/>
            <a:stCxn id="186" idx="3"/>
            <a:endCxn id="185" idx="1"/>
          </p:cNvCxnSpPr>
          <p:nvPr/>
        </p:nvCxnSpPr>
        <p:spPr>
          <a:xfrm>
            <a:off x="2925465" y="4786417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id="{E4139AB1-E5B5-4A3F-98E6-FE90211640B8}"/>
              </a:ext>
            </a:extLst>
          </p:cNvPr>
          <p:cNvSpPr txBox="1"/>
          <p:nvPr/>
        </p:nvSpPr>
        <p:spPr>
          <a:xfrm>
            <a:off x="3372127" y="5497701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A027CD99-AF0D-44F9-8BDF-A1EF75B2D864}"/>
              </a:ext>
            </a:extLst>
          </p:cNvPr>
          <p:cNvSpPr/>
          <p:nvPr/>
        </p:nvSpPr>
        <p:spPr>
          <a:xfrm>
            <a:off x="4835393" y="5667443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3</a:t>
            </a:r>
          </a:p>
        </p:txBody>
      </p:sp>
      <p:sp>
        <p:nvSpPr>
          <p:cNvPr id="190" name="Rectangle: Rounded Corners 189">
            <a:extLst>
              <a:ext uri="{FF2B5EF4-FFF2-40B4-BE49-F238E27FC236}">
                <a16:creationId xmlns:a16="http://schemas.microsoft.com/office/drawing/2014/main" id="{E5AF9321-4925-4D31-B245-8DA676B6FA4D}"/>
              </a:ext>
            </a:extLst>
          </p:cNvPr>
          <p:cNvSpPr/>
          <p:nvPr/>
        </p:nvSpPr>
        <p:spPr>
          <a:xfrm>
            <a:off x="2481838" y="5667443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3</a:t>
            </a:r>
          </a:p>
        </p:txBody>
      </p: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C58AA510-3694-4359-88A3-94B286DFD297}"/>
              </a:ext>
            </a:extLst>
          </p:cNvPr>
          <p:cNvCxnSpPr>
            <a:cxnSpLocks/>
            <a:stCxn id="190" idx="3"/>
            <a:endCxn id="189" idx="1"/>
          </p:cNvCxnSpPr>
          <p:nvPr/>
        </p:nvCxnSpPr>
        <p:spPr>
          <a:xfrm>
            <a:off x="2925465" y="5820677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>
            <a:extLst>
              <a:ext uri="{FF2B5EF4-FFF2-40B4-BE49-F238E27FC236}">
                <a16:creationId xmlns:a16="http://schemas.microsoft.com/office/drawing/2014/main" id="{51D40823-2830-4C2C-AEFD-F6F4B67E98BC}"/>
              </a:ext>
            </a:extLst>
          </p:cNvPr>
          <p:cNvSpPr txBox="1"/>
          <p:nvPr/>
        </p:nvSpPr>
        <p:spPr>
          <a:xfrm>
            <a:off x="8462286" y="362899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D31E77A4-547B-47F9-9EE0-58BFABC444AD}"/>
              </a:ext>
            </a:extLst>
          </p:cNvPr>
          <p:cNvSpPr txBox="1"/>
          <p:nvPr/>
        </p:nvSpPr>
        <p:spPr>
          <a:xfrm>
            <a:off x="7968354" y="5127928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9FBBC1BF-CE8B-4FC7-B23E-D65DB3CF4CD5}"/>
              </a:ext>
            </a:extLst>
          </p:cNvPr>
          <p:cNvSpPr txBox="1"/>
          <p:nvPr/>
        </p:nvSpPr>
        <p:spPr>
          <a:xfrm>
            <a:off x="9872040" y="456904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05390FAB-FBCB-426F-889E-0B10A58F0158}"/>
              </a:ext>
            </a:extLst>
          </p:cNvPr>
          <p:cNvSpPr/>
          <p:nvPr/>
        </p:nvSpPr>
        <p:spPr>
          <a:xfrm>
            <a:off x="4435819" y="3445864"/>
            <a:ext cx="1251332" cy="2732645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Rectangle: Rounded Corners 195">
            <a:extLst>
              <a:ext uri="{FF2B5EF4-FFF2-40B4-BE49-F238E27FC236}">
                <a16:creationId xmlns:a16="http://schemas.microsoft.com/office/drawing/2014/main" id="{DD4DD6A5-A256-47C0-845A-E04F94113751}"/>
              </a:ext>
            </a:extLst>
          </p:cNvPr>
          <p:cNvSpPr/>
          <p:nvPr/>
        </p:nvSpPr>
        <p:spPr>
          <a:xfrm>
            <a:off x="2077985" y="3445864"/>
            <a:ext cx="1251332" cy="2732645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A58BA6A8-3849-4A7D-B93E-C9D6D202F879}"/>
              </a:ext>
            </a:extLst>
          </p:cNvPr>
          <p:cNvGrpSpPr/>
          <p:nvPr/>
        </p:nvGrpSpPr>
        <p:grpSpPr>
          <a:xfrm>
            <a:off x="7421438" y="1643291"/>
            <a:ext cx="3328289" cy="4629341"/>
            <a:chOff x="7421438" y="796949"/>
            <a:chExt cx="3328289" cy="5495363"/>
          </a:xfrm>
        </p:grpSpPr>
        <p:sp>
          <p:nvSpPr>
            <p:cNvPr id="200" name="Rectangle: Rounded Corners 199">
              <a:extLst>
                <a:ext uri="{FF2B5EF4-FFF2-40B4-BE49-F238E27FC236}">
                  <a16:creationId xmlns:a16="http://schemas.microsoft.com/office/drawing/2014/main" id="{8948C40A-E49A-4CF9-B4C4-EDE283FC0965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BDFDAF7D-3E05-4FE9-9C81-391152A87894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63EC54A0-7044-4793-99C1-7FA80F37DEC5}"/>
              </a:ext>
            </a:extLst>
          </p:cNvPr>
          <p:cNvGrpSpPr/>
          <p:nvPr/>
        </p:nvGrpSpPr>
        <p:grpSpPr>
          <a:xfrm>
            <a:off x="1760706" y="1643291"/>
            <a:ext cx="4157209" cy="4629341"/>
            <a:chOff x="196828" y="890805"/>
            <a:chExt cx="4523821" cy="5495363"/>
          </a:xfrm>
        </p:grpSpPr>
        <p:sp>
          <p:nvSpPr>
            <p:cNvPr id="203" name="Rectangle: Rounded Corners 202">
              <a:extLst>
                <a:ext uri="{FF2B5EF4-FFF2-40B4-BE49-F238E27FC236}">
                  <a16:creationId xmlns:a16="http://schemas.microsoft.com/office/drawing/2014/main" id="{E29EFFF4-5C18-40C7-8F0E-AEB0B70F2430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A1E91213-E445-40F3-8F1B-8C22A130FF58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205" name="TextBox 204">
            <a:extLst>
              <a:ext uri="{FF2B5EF4-FFF2-40B4-BE49-F238E27FC236}">
                <a16:creationId xmlns:a16="http://schemas.microsoft.com/office/drawing/2014/main" id="{58D6E74B-30B4-4155-B7FF-A9631E2BFDA2}"/>
              </a:ext>
            </a:extLst>
          </p:cNvPr>
          <p:cNvSpPr txBox="1"/>
          <p:nvPr/>
        </p:nvSpPr>
        <p:spPr>
          <a:xfrm>
            <a:off x="9006801" y="255532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92" name="Speech Bubble: Rectangle with Corners Rounded 91">
            <a:extLst>
              <a:ext uri="{FF2B5EF4-FFF2-40B4-BE49-F238E27FC236}">
                <a16:creationId xmlns:a16="http://schemas.microsoft.com/office/drawing/2014/main" id="{4CD26B08-9DF2-41CF-9004-290A895DF375}"/>
              </a:ext>
            </a:extLst>
          </p:cNvPr>
          <p:cNvSpPr/>
          <p:nvPr/>
        </p:nvSpPr>
        <p:spPr>
          <a:xfrm>
            <a:off x="9619798" y="1971489"/>
            <a:ext cx="2031133" cy="586946"/>
          </a:xfrm>
          <a:prstGeom prst="wedgeRoundRectCallout">
            <a:avLst>
              <a:gd name="adj1" fmla="val -61422"/>
              <a:gd name="adj2" fmla="val 54318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larger Object 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as-a-whole</a:t>
            </a:r>
          </a:p>
        </p:txBody>
      </p:sp>
      <p:sp>
        <p:nvSpPr>
          <p:cNvPr id="93" name="Speech Bubble: Rectangle with Corners Rounded 92">
            <a:extLst>
              <a:ext uri="{FF2B5EF4-FFF2-40B4-BE49-F238E27FC236}">
                <a16:creationId xmlns:a16="http://schemas.microsoft.com/office/drawing/2014/main" id="{8F4CE15B-BE4B-4553-A6EB-74D406E0266C}"/>
              </a:ext>
            </a:extLst>
          </p:cNvPr>
          <p:cNvSpPr/>
          <p:nvPr/>
        </p:nvSpPr>
        <p:spPr>
          <a:xfrm>
            <a:off x="6828027" y="2376525"/>
            <a:ext cx="1706651" cy="586946"/>
          </a:xfrm>
          <a:prstGeom prst="wedgeRoundRectCallout">
            <a:avLst>
              <a:gd name="adj1" fmla="val 31442"/>
              <a:gd name="adj2" fmla="val 104322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arts of a larger Object</a:t>
            </a:r>
          </a:p>
        </p:txBody>
      </p:sp>
    </p:spTree>
    <p:extLst>
      <p:ext uri="{BB962C8B-B14F-4D97-AF65-F5344CB8AC3E}">
        <p14:creationId xmlns:p14="http://schemas.microsoft.com/office/powerpoint/2010/main" val="6382457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80" grpId="0"/>
      <p:bldP spid="81" grpId="0" animBg="1"/>
      <p:bldP spid="82" grpId="0" animBg="1"/>
      <p:bldP spid="84" grpId="0" animBg="1"/>
      <p:bldP spid="85" grpId="0" animBg="1"/>
      <p:bldP spid="88" grpId="0"/>
      <p:bldP spid="90" grpId="0"/>
      <p:bldP spid="92" grpId="0" animBg="1"/>
      <p:bldP spid="9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81222"/>
            <a:ext cx="11173968" cy="758952"/>
          </a:xfrm>
        </p:spPr>
        <p:txBody>
          <a:bodyPr>
            <a:normAutofit fontScale="90000"/>
          </a:bodyPr>
          <a:lstStyle/>
          <a:p>
            <a:r>
              <a:rPr lang="en-US" dirty="0"/>
              <a:t>Modeling an Object at multiple granularities in one BIS Repository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4CAFE99-CA6F-4F9B-ACA8-DF0B845BA336}"/>
              </a:ext>
            </a:extLst>
          </p:cNvPr>
          <p:cNvGrpSpPr/>
          <p:nvPr/>
        </p:nvGrpSpPr>
        <p:grpSpPr>
          <a:xfrm>
            <a:off x="8050970" y="3308686"/>
            <a:ext cx="1181417" cy="1114886"/>
            <a:chOff x="3094823" y="4030487"/>
            <a:chExt cx="2744314" cy="2589768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25CC75C-3A5F-4927-A329-5738BF2EE59A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5CA6CC5-F9E0-4F68-B877-A12CC12F563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471B7C-7F0D-448D-9F59-A6847B56E3AD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9387E2F-077C-4B98-97BB-5FA13F0526CD}"/>
              </a:ext>
            </a:extLst>
          </p:cNvPr>
          <p:cNvGrpSpPr/>
          <p:nvPr/>
        </p:nvGrpSpPr>
        <p:grpSpPr>
          <a:xfrm>
            <a:off x="2236970" y="890805"/>
            <a:ext cx="2972615" cy="5375933"/>
            <a:chOff x="-173269" y="890805"/>
            <a:chExt cx="4523821" cy="549536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A25419-9613-4D6D-B201-A7601453CF05}"/>
                </a:ext>
              </a:extLst>
            </p:cNvPr>
            <p:cNvSpPr/>
            <p:nvPr/>
          </p:nvSpPr>
          <p:spPr>
            <a:xfrm>
              <a:off x="-173269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855CBFC-D0D7-450E-B324-36DAE9C94A5B}"/>
                </a:ext>
              </a:extLst>
            </p:cNvPr>
            <p:cNvSpPr txBox="1"/>
            <p:nvPr/>
          </p:nvSpPr>
          <p:spPr>
            <a:xfrm>
              <a:off x="907678" y="890805"/>
              <a:ext cx="2361926" cy="346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556A0C-6168-43E7-8FDE-794808F4B9A1}"/>
              </a:ext>
            </a:extLst>
          </p:cNvPr>
          <p:cNvGrpSpPr/>
          <p:nvPr/>
        </p:nvGrpSpPr>
        <p:grpSpPr>
          <a:xfrm>
            <a:off x="7559748" y="4811348"/>
            <a:ext cx="1181417" cy="1114886"/>
            <a:chOff x="3094823" y="4030487"/>
            <a:chExt cx="2744314" cy="2589768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896BE30-1263-4714-95E4-E9FBBA3D2BC4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0718C67-CD77-4A29-A5A2-36EC083428DC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7024CE-D118-4519-9071-1141616FD34F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0090C00-1560-4489-A083-613104D3AFC7}"/>
              </a:ext>
            </a:extLst>
          </p:cNvPr>
          <p:cNvGrpSpPr/>
          <p:nvPr/>
        </p:nvGrpSpPr>
        <p:grpSpPr>
          <a:xfrm>
            <a:off x="9444661" y="4274367"/>
            <a:ext cx="1181417" cy="1114886"/>
            <a:chOff x="3094823" y="4030487"/>
            <a:chExt cx="2744314" cy="258976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63CFF34-E876-460A-B4B6-8CAFAC9F38E9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2981C27-31F2-475B-9682-84B08CCD0DCF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9455C09-1414-41F6-AA14-725A58CA56A4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718A0E6-091A-45D0-BF4D-A04D6EBE660B}"/>
              </a:ext>
            </a:extLst>
          </p:cNvPr>
          <p:cNvSpPr/>
          <p:nvPr/>
        </p:nvSpPr>
        <p:spPr>
          <a:xfrm>
            <a:off x="3473520" y="3405143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89C73876-169E-4460-AC3E-FE4A8016E804}"/>
              </a:ext>
            </a:extLst>
          </p:cNvPr>
          <p:cNvSpPr/>
          <p:nvPr/>
        </p:nvSpPr>
        <p:spPr>
          <a:xfrm>
            <a:off x="3475104" y="4904076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3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A99AD951-3AB2-40CC-B2AC-2E94FDBC70FB}"/>
              </a:ext>
            </a:extLst>
          </p:cNvPr>
          <p:cNvSpPr/>
          <p:nvPr/>
        </p:nvSpPr>
        <p:spPr>
          <a:xfrm>
            <a:off x="3471230" y="4345193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6667FA-4477-4853-8B6E-73AE67495E70}"/>
              </a:ext>
            </a:extLst>
          </p:cNvPr>
          <p:cNvSpPr txBox="1"/>
          <p:nvPr/>
        </p:nvSpPr>
        <p:spPr>
          <a:xfrm>
            <a:off x="8369479" y="337371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05A7C73-B627-463B-AB04-71C5A4904E82}"/>
              </a:ext>
            </a:extLst>
          </p:cNvPr>
          <p:cNvSpPr txBox="1"/>
          <p:nvPr/>
        </p:nvSpPr>
        <p:spPr>
          <a:xfrm>
            <a:off x="7875547" y="4872643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C3DC733-B9EA-4BDE-9056-F5B4C1E0B4B0}"/>
              </a:ext>
            </a:extLst>
          </p:cNvPr>
          <p:cNvSpPr txBox="1"/>
          <p:nvPr/>
        </p:nvSpPr>
        <p:spPr>
          <a:xfrm>
            <a:off x="9779233" y="431376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E3038FB-7E39-44B7-B646-36FA93E4A4E6}"/>
              </a:ext>
            </a:extLst>
          </p:cNvPr>
          <p:cNvSpPr/>
          <p:nvPr/>
        </p:nvSpPr>
        <p:spPr>
          <a:xfrm>
            <a:off x="3073946" y="3047146"/>
            <a:ext cx="1251332" cy="2449259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003A512-C78D-4585-98DA-9F23A18CA65F}"/>
              </a:ext>
            </a:extLst>
          </p:cNvPr>
          <p:cNvSpPr/>
          <p:nvPr/>
        </p:nvSpPr>
        <p:spPr>
          <a:xfrm>
            <a:off x="7405814" y="2487828"/>
            <a:ext cx="3157292" cy="3567206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143EA5-7747-4086-A255-4690C88D5144}"/>
              </a:ext>
            </a:extLst>
          </p:cNvPr>
          <p:cNvGrpSpPr/>
          <p:nvPr/>
        </p:nvGrpSpPr>
        <p:grpSpPr>
          <a:xfrm>
            <a:off x="8461460" y="1744141"/>
            <a:ext cx="1181417" cy="1114886"/>
            <a:chOff x="3094823" y="4030487"/>
            <a:chExt cx="2744314" cy="258976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B3DD72-FB28-4FD7-A83A-3995E319FBAD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6BDEE1D-40B3-4872-AD0D-B7FFD6580AA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8D32885-E7F9-4212-A642-E4168539E3F3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B304619-852E-41A9-9A3A-9E7C9A8EB376}"/>
              </a:ext>
            </a:extLst>
          </p:cNvPr>
          <p:cNvSpPr txBox="1"/>
          <p:nvPr/>
        </p:nvSpPr>
        <p:spPr>
          <a:xfrm>
            <a:off x="8779969" y="1787317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BA642D6C-6692-43A3-BD5B-43994681C532}"/>
              </a:ext>
            </a:extLst>
          </p:cNvPr>
          <p:cNvSpPr/>
          <p:nvPr/>
        </p:nvSpPr>
        <p:spPr>
          <a:xfrm>
            <a:off x="3473520" y="1818750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0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2471A43-F428-400B-8197-B93AE1946D45}"/>
              </a:ext>
            </a:extLst>
          </p:cNvPr>
          <p:cNvSpPr/>
          <p:nvPr/>
        </p:nvSpPr>
        <p:spPr>
          <a:xfrm>
            <a:off x="3073946" y="1624691"/>
            <a:ext cx="1251332" cy="878303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12D1AD1-9BAC-4B66-9C82-CC442857AB8B}"/>
              </a:ext>
            </a:extLst>
          </p:cNvPr>
          <p:cNvCxnSpPr>
            <a:cxnSpLocks/>
            <a:stCxn id="5" idx="0"/>
            <a:endCxn id="81" idx="2"/>
          </p:cNvCxnSpPr>
          <p:nvPr/>
        </p:nvCxnSpPr>
        <p:spPr>
          <a:xfrm flipV="1">
            <a:off x="3699612" y="2125217"/>
            <a:ext cx="1" cy="921929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76CCF50B-A464-4106-8902-07B312AC5676}"/>
              </a:ext>
            </a:extLst>
          </p:cNvPr>
          <p:cNvCxnSpPr>
            <a:cxnSpLocks/>
            <a:stCxn id="81" idx="3"/>
            <a:endCxn id="63" idx="1"/>
          </p:cNvCxnSpPr>
          <p:nvPr/>
        </p:nvCxnSpPr>
        <p:spPr>
          <a:xfrm flipV="1">
            <a:off x="3925705" y="1971983"/>
            <a:ext cx="4854264" cy="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58B49698-5B3B-4FC8-81BE-98E6B5D8B071}"/>
              </a:ext>
            </a:extLst>
          </p:cNvPr>
          <p:cNvSpPr txBox="1"/>
          <p:nvPr/>
        </p:nvSpPr>
        <p:spPr>
          <a:xfrm>
            <a:off x="5806655" y="1649473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FB1A358-B008-4186-A737-9CF18E0A33DA}"/>
              </a:ext>
            </a:extLst>
          </p:cNvPr>
          <p:cNvCxnSpPr>
            <a:cxnSpLocks/>
            <a:stCxn id="45" idx="3"/>
            <a:endCxn id="18" idx="1"/>
          </p:cNvCxnSpPr>
          <p:nvPr/>
        </p:nvCxnSpPr>
        <p:spPr>
          <a:xfrm flipV="1">
            <a:off x="3925705" y="3558376"/>
            <a:ext cx="4443774" cy="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F87E36A6-513F-4965-AE8D-1518AD461EFD}"/>
              </a:ext>
            </a:extLst>
          </p:cNvPr>
          <p:cNvSpPr txBox="1"/>
          <p:nvPr/>
        </p:nvSpPr>
        <p:spPr>
          <a:xfrm>
            <a:off x="5806655" y="3234029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9352CF49-808F-4429-B601-12B1B74EBAD2}"/>
              </a:ext>
            </a:extLst>
          </p:cNvPr>
          <p:cNvCxnSpPr>
            <a:cxnSpLocks/>
            <a:stCxn id="56" idx="3"/>
            <a:endCxn id="60" idx="1"/>
          </p:cNvCxnSpPr>
          <p:nvPr/>
        </p:nvCxnSpPr>
        <p:spPr>
          <a:xfrm flipV="1">
            <a:off x="3923415" y="4498426"/>
            <a:ext cx="5855818" cy="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AEE8529C-0786-468C-B144-13C8EFF1EA67}"/>
              </a:ext>
            </a:extLst>
          </p:cNvPr>
          <p:cNvSpPr txBox="1"/>
          <p:nvPr/>
        </p:nvSpPr>
        <p:spPr>
          <a:xfrm>
            <a:off x="5806655" y="4165937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0A73A07-079C-4126-AC86-565092DEBF80}"/>
              </a:ext>
            </a:extLst>
          </p:cNvPr>
          <p:cNvCxnSpPr>
            <a:cxnSpLocks/>
            <a:stCxn id="52" idx="3"/>
          </p:cNvCxnSpPr>
          <p:nvPr/>
        </p:nvCxnSpPr>
        <p:spPr>
          <a:xfrm>
            <a:off x="3927289" y="5057310"/>
            <a:ext cx="3948258" cy="2776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324F2B03-97AC-48D2-9037-2D6D458DC295}"/>
              </a:ext>
            </a:extLst>
          </p:cNvPr>
          <p:cNvSpPr txBox="1"/>
          <p:nvPr/>
        </p:nvSpPr>
        <p:spPr>
          <a:xfrm>
            <a:off x="5806655" y="4734798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A8FE7D0E-098E-4A37-8B90-BEC7F332989B}"/>
              </a:ext>
            </a:extLst>
          </p:cNvPr>
          <p:cNvCxnSpPr>
            <a:cxnSpLocks/>
          </p:cNvCxnSpPr>
          <p:nvPr/>
        </p:nvCxnSpPr>
        <p:spPr>
          <a:xfrm flipV="1">
            <a:off x="4325278" y="2125217"/>
            <a:ext cx="4454691" cy="106630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A710CE31-DA93-4DA0-8C58-89C9BEDDEF25}"/>
              </a:ext>
            </a:extLst>
          </p:cNvPr>
          <p:cNvSpPr txBox="1"/>
          <p:nvPr/>
        </p:nvSpPr>
        <p:spPr>
          <a:xfrm rot="20795683">
            <a:off x="4890882" y="2412258"/>
            <a:ext cx="2627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collectively models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06C70BF-2934-4A5D-BC67-67D6670B1331}"/>
              </a:ext>
            </a:extLst>
          </p:cNvPr>
          <p:cNvGrpSpPr/>
          <p:nvPr/>
        </p:nvGrpSpPr>
        <p:grpSpPr>
          <a:xfrm>
            <a:off x="7240612" y="890805"/>
            <a:ext cx="3509116" cy="5381827"/>
            <a:chOff x="7421438" y="796949"/>
            <a:chExt cx="3328289" cy="5495363"/>
          </a:xfrm>
        </p:grpSpPr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3C616B9D-0DC6-4030-AD04-223BD4E2DFE0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260EB63-4184-4710-A500-AE10E451D1A0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AE5EAB7C-B857-4EB4-A0C5-6AA9F78C845B}"/>
              </a:ext>
            </a:extLst>
          </p:cNvPr>
          <p:cNvSpPr txBox="1"/>
          <p:nvPr/>
        </p:nvSpPr>
        <p:spPr>
          <a:xfrm>
            <a:off x="3662245" y="2551400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sp>
        <p:nvSpPr>
          <p:cNvPr id="50" name="Speech Bubble: Rectangle with Corners Rounded 49">
            <a:extLst>
              <a:ext uri="{FF2B5EF4-FFF2-40B4-BE49-F238E27FC236}">
                <a16:creationId xmlns:a16="http://schemas.microsoft.com/office/drawing/2014/main" id="{56ED9318-AF8C-4C79-BC6B-2F7CE146AC93}"/>
              </a:ext>
            </a:extLst>
          </p:cNvPr>
          <p:cNvSpPr/>
          <p:nvPr/>
        </p:nvSpPr>
        <p:spPr>
          <a:xfrm>
            <a:off x="9362129" y="1259670"/>
            <a:ext cx="2031133" cy="586946"/>
          </a:xfrm>
          <a:prstGeom prst="wedgeRoundRectCallout">
            <a:avLst>
              <a:gd name="adj1" fmla="val -61422"/>
              <a:gd name="adj2" fmla="val 54318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larger Object 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as-a-whole</a:t>
            </a:r>
          </a:p>
        </p:txBody>
      </p:sp>
      <p:sp>
        <p:nvSpPr>
          <p:cNvPr id="51" name="Speech Bubble: Rectangle with Corners Rounded 50">
            <a:extLst>
              <a:ext uri="{FF2B5EF4-FFF2-40B4-BE49-F238E27FC236}">
                <a16:creationId xmlns:a16="http://schemas.microsoft.com/office/drawing/2014/main" id="{C88E2FED-7069-4A9D-BD38-A00F02ACCDF4}"/>
              </a:ext>
            </a:extLst>
          </p:cNvPr>
          <p:cNvSpPr/>
          <p:nvPr/>
        </p:nvSpPr>
        <p:spPr>
          <a:xfrm>
            <a:off x="9806358" y="1995101"/>
            <a:ext cx="1706651" cy="586946"/>
          </a:xfrm>
          <a:prstGeom prst="wedgeRoundRectCallout">
            <a:avLst>
              <a:gd name="adj1" fmla="val -63427"/>
              <a:gd name="adj2" fmla="val 35717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arts of a larger Object</a:t>
            </a:r>
          </a:p>
        </p:txBody>
      </p:sp>
    </p:spTree>
    <p:extLst>
      <p:ext uri="{BB962C8B-B14F-4D97-AF65-F5344CB8AC3E}">
        <p14:creationId xmlns:p14="http://schemas.microsoft.com/office/powerpoint/2010/main" val="2561618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  <p:bldP spid="67" grpId="0"/>
      <p:bldP spid="69" grpId="0"/>
      <p:bldP spid="71" grpId="0"/>
      <p:bldP spid="7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81222"/>
            <a:ext cx="11173968" cy="758952"/>
          </a:xfrm>
        </p:spPr>
        <p:txBody>
          <a:bodyPr>
            <a:normAutofit/>
          </a:bodyPr>
          <a:lstStyle/>
          <a:p>
            <a:r>
              <a:rPr lang="en-US" dirty="0"/>
              <a:t>Where does it stop?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4CAFE99-CA6F-4F9B-ACA8-DF0B845BA336}"/>
              </a:ext>
            </a:extLst>
          </p:cNvPr>
          <p:cNvGrpSpPr/>
          <p:nvPr/>
        </p:nvGrpSpPr>
        <p:grpSpPr>
          <a:xfrm>
            <a:off x="8050970" y="3464333"/>
            <a:ext cx="1181417" cy="1114886"/>
            <a:chOff x="3094823" y="4030487"/>
            <a:chExt cx="2744314" cy="2589768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25CC75C-3A5F-4927-A329-5738BF2EE59A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5CA6CC5-F9E0-4F68-B877-A12CC12F563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471B7C-7F0D-448D-9F59-A6847B56E3AD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9387E2F-077C-4B98-97BB-5FA13F0526CD}"/>
              </a:ext>
            </a:extLst>
          </p:cNvPr>
          <p:cNvGrpSpPr/>
          <p:nvPr/>
        </p:nvGrpSpPr>
        <p:grpSpPr>
          <a:xfrm>
            <a:off x="2236970" y="890805"/>
            <a:ext cx="2972615" cy="5375933"/>
            <a:chOff x="-173269" y="890805"/>
            <a:chExt cx="4523821" cy="549536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A25419-9613-4D6D-B201-A7601453CF05}"/>
                </a:ext>
              </a:extLst>
            </p:cNvPr>
            <p:cNvSpPr/>
            <p:nvPr/>
          </p:nvSpPr>
          <p:spPr>
            <a:xfrm>
              <a:off x="-173269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855CBFC-D0D7-450E-B324-36DAE9C94A5B}"/>
                </a:ext>
              </a:extLst>
            </p:cNvPr>
            <p:cNvSpPr txBox="1"/>
            <p:nvPr/>
          </p:nvSpPr>
          <p:spPr>
            <a:xfrm>
              <a:off x="907678" y="890805"/>
              <a:ext cx="2361926" cy="346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556A0C-6168-43E7-8FDE-794808F4B9A1}"/>
              </a:ext>
            </a:extLst>
          </p:cNvPr>
          <p:cNvGrpSpPr/>
          <p:nvPr/>
        </p:nvGrpSpPr>
        <p:grpSpPr>
          <a:xfrm>
            <a:off x="7559748" y="4966995"/>
            <a:ext cx="1181417" cy="1114886"/>
            <a:chOff x="3094823" y="4030487"/>
            <a:chExt cx="2744314" cy="2589768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896BE30-1263-4714-95E4-E9FBBA3D2BC4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0718C67-CD77-4A29-A5A2-36EC083428DC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7024CE-D118-4519-9071-1141616FD34F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0090C00-1560-4489-A083-613104D3AFC7}"/>
              </a:ext>
            </a:extLst>
          </p:cNvPr>
          <p:cNvGrpSpPr/>
          <p:nvPr/>
        </p:nvGrpSpPr>
        <p:grpSpPr>
          <a:xfrm>
            <a:off x="9444661" y="4430014"/>
            <a:ext cx="1181417" cy="1114886"/>
            <a:chOff x="3094823" y="4030487"/>
            <a:chExt cx="2744314" cy="258976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63CFF34-E876-460A-B4B6-8CAFAC9F38E9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2981C27-31F2-475B-9682-84B08CCD0DCF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9455C09-1414-41F6-AA14-725A58CA56A4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718A0E6-091A-45D0-BF4D-A04D6EBE660B}"/>
              </a:ext>
            </a:extLst>
          </p:cNvPr>
          <p:cNvSpPr/>
          <p:nvPr/>
        </p:nvSpPr>
        <p:spPr>
          <a:xfrm>
            <a:off x="3473520" y="3560790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89C73876-169E-4460-AC3E-FE4A8016E804}"/>
              </a:ext>
            </a:extLst>
          </p:cNvPr>
          <p:cNvSpPr/>
          <p:nvPr/>
        </p:nvSpPr>
        <p:spPr>
          <a:xfrm>
            <a:off x="3473520" y="5059723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3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A99AD951-3AB2-40CC-B2AC-2E94FDBC70FB}"/>
              </a:ext>
            </a:extLst>
          </p:cNvPr>
          <p:cNvSpPr/>
          <p:nvPr/>
        </p:nvSpPr>
        <p:spPr>
          <a:xfrm>
            <a:off x="3473520" y="4500840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6667FA-4477-4853-8B6E-73AE67495E70}"/>
              </a:ext>
            </a:extLst>
          </p:cNvPr>
          <p:cNvSpPr txBox="1"/>
          <p:nvPr/>
        </p:nvSpPr>
        <p:spPr>
          <a:xfrm>
            <a:off x="8369479" y="3529357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05A7C73-B627-463B-AB04-71C5A4904E82}"/>
              </a:ext>
            </a:extLst>
          </p:cNvPr>
          <p:cNvSpPr txBox="1"/>
          <p:nvPr/>
        </p:nvSpPr>
        <p:spPr>
          <a:xfrm>
            <a:off x="7875547" y="502829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C3DC733-B9EA-4BDE-9056-F5B4C1E0B4B0}"/>
              </a:ext>
            </a:extLst>
          </p:cNvPr>
          <p:cNvSpPr txBox="1"/>
          <p:nvPr/>
        </p:nvSpPr>
        <p:spPr>
          <a:xfrm>
            <a:off x="9779233" y="4469407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E3038FB-7E39-44B7-B646-36FA93E4A4E6}"/>
              </a:ext>
            </a:extLst>
          </p:cNvPr>
          <p:cNvSpPr/>
          <p:nvPr/>
        </p:nvSpPr>
        <p:spPr>
          <a:xfrm>
            <a:off x="3073946" y="3202793"/>
            <a:ext cx="1251332" cy="2449259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003A512-C78D-4585-98DA-9F23A18CA65F}"/>
              </a:ext>
            </a:extLst>
          </p:cNvPr>
          <p:cNvSpPr/>
          <p:nvPr/>
        </p:nvSpPr>
        <p:spPr>
          <a:xfrm>
            <a:off x="7405814" y="2643475"/>
            <a:ext cx="3157292" cy="3567206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143EA5-7747-4086-A255-4690C88D5144}"/>
              </a:ext>
            </a:extLst>
          </p:cNvPr>
          <p:cNvGrpSpPr/>
          <p:nvPr/>
        </p:nvGrpSpPr>
        <p:grpSpPr>
          <a:xfrm>
            <a:off x="8461460" y="1899788"/>
            <a:ext cx="1181417" cy="1114886"/>
            <a:chOff x="3094823" y="4030487"/>
            <a:chExt cx="2744314" cy="258976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B3DD72-FB28-4FD7-A83A-3995E319FBAD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6BDEE1D-40B3-4872-AD0D-B7FFD6580AA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8D32885-E7F9-4212-A642-E4168539E3F3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B304619-852E-41A9-9A3A-9E7C9A8EB376}"/>
              </a:ext>
            </a:extLst>
          </p:cNvPr>
          <p:cNvSpPr txBox="1"/>
          <p:nvPr/>
        </p:nvSpPr>
        <p:spPr>
          <a:xfrm>
            <a:off x="8779969" y="1942964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BA642D6C-6692-43A3-BD5B-43994681C532}"/>
              </a:ext>
            </a:extLst>
          </p:cNvPr>
          <p:cNvSpPr/>
          <p:nvPr/>
        </p:nvSpPr>
        <p:spPr>
          <a:xfrm>
            <a:off x="3473520" y="2207865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0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2471A43-F428-400B-8197-B93AE1946D45}"/>
              </a:ext>
            </a:extLst>
          </p:cNvPr>
          <p:cNvSpPr/>
          <p:nvPr/>
        </p:nvSpPr>
        <p:spPr>
          <a:xfrm>
            <a:off x="3073946" y="2073464"/>
            <a:ext cx="1251332" cy="688462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12D1AD1-9BAC-4B66-9C82-CC442857AB8B}"/>
              </a:ext>
            </a:extLst>
          </p:cNvPr>
          <p:cNvCxnSpPr>
            <a:cxnSpLocks/>
            <a:stCxn id="5" idx="0"/>
            <a:endCxn id="81" idx="2"/>
          </p:cNvCxnSpPr>
          <p:nvPr/>
        </p:nvCxnSpPr>
        <p:spPr>
          <a:xfrm flipV="1">
            <a:off x="3699612" y="2514332"/>
            <a:ext cx="1" cy="688461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76CCF50B-A464-4106-8902-07B312AC5676}"/>
              </a:ext>
            </a:extLst>
          </p:cNvPr>
          <p:cNvCxnSpPr>
            <a:cxnSpLocks/>
            <a:stCxn id="81" idx="3"/>
            <a:endCxn id="63" idx="1"/>
          </p:cNvCxnSpPr>
          <p:nvPr/>
        </p:nvCxnSpPr>
        <p:spPr>
          <a:xfrm flipV="1">
            <a:off x="3925705" y="2127630"/>
            <a:ext cx="4854264" cy="233469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58B49698-5B3B-4FC8-81BE-98E6B5D8B071}"/>
              </a:ext>
            </a:extLst>
          </p:cNvPr>
          <p:cNvSpPr txBox="1"/>
          <p:nvPr/>
        </p:nvSpPr>
        <p:spPr>
          <a:xfrm rot="21390418">
            <a:off x="5806655" y="1953800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FB1A358-B008-4186-A737-9CF18E0A33DA}"/>
              </a:ext>
            </a:extLst>
          </p:cNvPr>
          <p:cNvCxnSpPr>
            <a:cxnSpLocks/>
            <a:stCxn id="45" idx="3"/>
            <a:endCxn id="18" idx="1"/>
          </p:cNvCxnSpPr>
          <p:nvPr/>
        </p:nvCxnSpPr>
        <p:spPr>
          <a:xfrm flipV="1">
            <a:off x="3925705" y="3714023"/>
            <a:ext cx="4443774" cy="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F87E36A6-513F-4965-AE8D-1518AD461EFD}"/>
              </a:ext>
            </a:extLst>
          </p:cNvPr>
          <p:cNvSpPr txBox="1"/>
          <p:nvPr/>
        </p:nvSpPr>
        <p:spPr>
          <a:xfrm>
            <a:off x="5806655" y="3389676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9352CF49-808F-4429-B601-12B1B74EBAD2}"/>
              </a:ext>
            </a:extLst>
          </p:cNvPr>
          <p:cNvCxnSpPr>
            <a:cxnSpLocks/>
            <a:stCxn id="56" idx="3"/>
            <a:endCxn id="60" idx="1"/>
          </p:cNvCxnSpPr>
          <p:nvPr/>
        </p:nvCxnSpPr>
        <p:spPr>
          <a:xfrm flipV="1">
            <a:off x="3925705" y="4654073"/>
            <a:ext cx="5853528" cy="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AEE8529C-0786-468C-B144-13C8EFF1EA67}"/>
              </a:ext>
            </a:extLst>
          </p:cNvPr>
          <p:cNvSpPr txBox="1"/>
          <p:nvPr/>
        </p:nvSpPr>
        <p:spPr>
          <a:xfrm>
            <a:off x="5806655" y="4321584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0A73A07-079C-4126-AC86-565092DEBF80}"/>
              </a:ext>
            </a:extLst>
          </p:cNvPr>
          <p:cNvCxnSpPr>
            <a:cxnSpLocks/>
            <a:stCxn id="52" idx="3"/>
          </p:cNvCxnSpPr>
          <p:nvPr/>
        </p:nvCxnSpPr>
        <p:spPr>
          <a:xfrm>
            <a:off x="3925705" y="5212957"/>
            <a:ext cx="3949842" cy="2776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324F2B03-97AC-48D2-9037-2D6D458DC295}"/>
              </a:ext>
            </a:extLst>
          </p:cNvPr>
          <p:cNvSpPr txBox="1"/>
          <p:nvPr/>
        </p:nvSpPr>
        <p:spPr>
          <a:xfrm>
            <a:off x="5806655" y="4890445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A8FE7D0E-098E-4A37-8B90-BEC7F332989B}"/>
              </a:ext>
            </a:extLst>
          </p:cNvPr>
          <p:cNvCxnSpPr>
            <a:cxnSpLocks/>
          </p:cNvCxnSpPr>
          <p:nvPr/>
        </p:nvCxnSpPr>
        <p:spPr>
          <a:xfrm flipV="1">
            <a:off x="4325278" y="2280864"/>
            <a:ext cx="4454691" cy="106630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A710CE31-DA93-4DA0-8C58-89C9BEDDEF25}"/>
              </a:ext>
            </a:extLst>
          </p:cNvPr>
          <p:cNvSpPr txBox="1"/>
          <p:nvPr/>
        </p:nvSpPr>
        <p:spPr>
          <a:xfrm rot="20795683">
            <a:off x="4890882" y="2567905"/>
            <a:ext cx="2627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collectively models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06C70BF-2934-4A5D-BC67-67D6670B1331}"/>
              </a:ext>
            </a:extLst>
          </p:cNvPr>
          <p:cNvGrpSpPr/>
          <p:nvPr/>
        </p:nvGrpSpPr>
        <p:grpSpPr>
          <a:xfrm>
            <a:off x="7240612" y="890805"/>
            <a:ext cx="3509116" cy="5381827"/>
            <a:chOff x="7421438" y="796949"/>
            <a:chExt cx="3328289" cy="5495363"/>
          </a:xfrm>
        </p:grpSpPr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3C616B9D-0DC6-4030-AD04-223BD4E2DFE0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260EB63-4184-4710-A500-AE10E451D1A0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AE5EAB7C-B857-4EB4-A0C5-6AA9F78C845B}"/>
              </a:ext>
            </a:extLst>
          </p:cNvPr>
          <p:cNvSpPr txBox="1"/>
          <p:nvPr/>
        </p:nvSpPr>
        <p:spPr>
          <a:xfrm>
            <a:off x="3662245" y="2707047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BC1E25F-6E57-485C-A15F-F3278640074B}"/>
              </a:ext>
            </a:extLst>
          </p:cNvPr>
          <p:cNvCxnSpPr>
            <a:cxnSpLocks/>
            <a:stCxn id="84" idx="0"/>
            <a:endCxn id="53" idx="2"/>
          </p:cNvCxnSpPr>
          <p:nvPr/>
        </p:nvCxnSpPr>
        <p:spPr>
          <a:xfrm flipV="1">
            <a:off x="3699612" y="1733544"/>
            <a:ext cx="0" cy="33992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DA25CCF1-E955-4D5E-9BD9-37A7BB4BA8A7}"/>
              </a:ext>
            </a:extLst>
          </p:cNvPr>
          <p:cNvSpPr txBox="1"/>
          <p:nvPr/>
        </p:nvSpPr>
        <p:spPr>
          <a:xfrm>
            <a:off x="3257981" y="1324921"/>
            <a:ext cx="883262" cy="408623"/>
          </a:xfrm>
          <a:prstGeom prst="roundRect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?</a:t>
            </a:r>
          </a:p>
        </p:txBody>
      </p:sp>
      <p:sp>
        <p:nvSpPr>
          <p:cNvPr id="54" name="Speech Bubble: Rectangle with Corners Rounded 53">
            <a:extLst>
              <a:ext uri="{FF2B5EF4-FFF2-40B4-BE49-F238E27FC236}">
                <a16:creationId xmlns:a16="http://schemas.microsoft.com/office/drawing/2014/main" id="{49AC01F1-039F-4E94-BDA2-7D7D14BAC5C2}"/>
              </a:ext>
            </a:extLst>
          </p:cNvPr>
          <p:cNvSpPr/>
          <p:nvPr/>
        </p:nvSpPr>
        <p:spPr>
          <a:xfrm>
            <a:off x="9362129" y="1377116"/>
            <a:ext cx="2031133" cy="586946"/>
          </a:xfrm>
          <a:prstGeom prst="wedgeRoundRectCallout">
            <a:avLst>
              <a:gd name="adj1" fmla="val -61422"/>
              <a:gd name="adj2" fmla="val 54318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larger Object 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as-a-whole</a:t>
            </a:r>
          </a:p>
        </p:txBody>
      </p:sp>
      <p:sp>
        <p:nvSpPr>
          <p:cNvPr id="55" name="Speech Bubble: Rectangle with Corners Rounded 54">
            <a:extLst>
              <a:ext uri="{FF2B5EF4-FFF2-40B4-BE49-F238E27FC236}">
                <a16:creationId xmlns:a16="http://schemas.microsoft.com/office/drawing/2014/main" id="{076BA410-B232-42E4-9242-0E4B4F4B03E6}"/>
              </a:ext>
            </a:extLst>
          </p:cNvPr>
          <p:cNvSpPr/>
          <p:nvPr/>
        </p:nvSpPr>
        <p:spPr>
          <a:xfrm>
            <a:off x="10214911" y="2102311"/>
            <a:ext cx="1706651" cy="586946"/>
          </a:xfrm>
          <a:prstGeom prst="wedgeRoundRectCallout">
            <a:avLst>
              <a:gd name="adj1" fmla="val -62495"/>
              <a:gd name="adj2" fmla="val 60400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arts of a larger Object</a:t>
            </a:r>
          </a:p>
        </p:txBody>
      </p:sp>
    </p:spTree>
    <p:extLst>
      <p:ext uri="{BB962C8B-B14F-4D97-AF65-F5344CB8AC3E}">
        <p14:creationId xmlns:p14="http://schemas.microsoft.com/office/powerpoint/2010/main" val="9598379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Hexagon 1">
            <a:extLst>
              <a:ext uri="{FF2B5EF4-FFF2-40B4-BE49-F238E27FC236}">
                <a16:creationId xmlns:a16="http://schemas.microsoft.com/office/drawing/2014/main" id="{3AB080B9-3D93-4E60-856A-E7255A38A217}"/>
              </a:ext>
            </a:extLst>
          </p:cNvPr>
          <p:cNvSpPr/>
          <p:nvPr/>
        </p:nvSpPr>
        <p:spPr>
          <a:xfrm rot="1800000">
            <a:off x="8394825" y="1690245"/>
            <a:ext cx="1123561" cy="975769"/>
          </a:xfrm>
          <a:custGeom>
            <a:avLst/>
            <a:gdLst>
              <a:gd name="connsiteX0" fmla="*/ 0 w 2628787"/>
              <a:gd name="connsiteY0" fmla="*/ 1133098 h 2266196"/>
              <a:gd name="connsiteX1" fmla="*/ 566549 w 2628787"/>
              <a:gd name="connsiteY1" fmla="*/ 1 h 2266196"/>
              <a:gd name="connsiteX2" fmla="*/ 2062238 w 2628787"/>
              <a:gd name="connsiteY2" fmla="*/ 1 h 2266196"/>
              <a:gd name="connsiteX3" fmla="*/ 2628787 w 2628787"/>
              <a:gd name="connsiteY3" fmla="*/ 1133098 h 2266196"/>
              <a:gd name="connsiteX4" fmla="*/ 2062238 w 2628787"/>
              <a:gd name="connsiteY4" fmla="*/ 2266195 h 2266196"/>
              <a:gd name="connsiteX5" fmla="*/ 566549 w 2628787"/>
              <a:gd name="connsiteY5" fmla="*/ 2266195 h 2266196"/>
              <a:gd name="connsiteX6" fmla="*/ 0 w 2628787"/>
              <a:gd name="connsiteY6" fmla="*/ 1133098 h 2266196"/>
              <a:gd name="connsiteX0" fmla="*/ 0 w 2692686"/>
              <a:gd name="connsiteY0" fmla="*/ 1146173 h 2266194"/>
              <a:gd name="connsiteX1" fmla="*/ 630448 w 2692686"/>
              <a:gd name="connsiteY1" fmla="*/ 0 h 2266194"/>
              <a:gd name="connsiteX2" fmla="*/ 2126137 w 2692686"/>
              <a:gd name="connsiteY2" fmla="*/ 0 h 2266194"/>
              <a:gd name="connsiteX3" fmla="*/ 2692686 w 2692686"/>
              <a:gd name="connsiteY3" fmla="*/ 1133097 h 2266194"/>
              <a:gd name="connsiteX4" fmla="*/ 2126137 w 2692686"/>
              <a:gd name="connsiteY4" fmla="*/ 2266194 h 2266194"/>
              <a:gd name="connsiteX5" fmla="*/ 630448 w 2692686"/>
              <a:gd name="connsiteY5" fmla="*/ 2266194 h 2266194"/>
              <a:gd name="connsiteX6" fmla="*/ 0 w 2692686"/>
              <a:gd name="connsiteY6" fmla="*/ 1146173 h 2266194"/>
              <a:gd name="connsiteX0" fmla="*/ 0 w 2692686"/>
              <a:gd name="connsiteY0" fmla="*/ 1184824 h 2304845"/>
              <a:gd name="connsiteX1" fmla="*/ 692812 w 2692686"/>
              <a:gd name="connsiteY1" fmla="*/ 0 h 2304845"/>
              <a:gd name="connsiteX2" fmla="*/ 2126137 w 2692686"/>
              <a:gd name="connsiteY2" fmla="*/ 38651 h 2304845"/>
              <a:gd name="connsiteX3" fmla="*/ 2692686 w 2692686"/>
              <a:gd name="connsiteY3" fmla="*/ 1171748 h 2304845"/>
              <a:gd name="connsiteX4" fmla="*/ 2126137 w 2692686"/>
              <a:gd name="connsiteY4" fmla="*/ 2304845 h 2304845"/>
              <a:gd name="connsiteX5" fmla="*/ 630448 w 2692686"/>
              <a:gd name="connsiteY5" fmla="*/ 2304845 h 2304845"/>
              <a:gd name="connsiteX6" fmla="*/ 0 w 2692686"/>
              <a:gd name="connsiteY6" fmla="*/ 1184824 h 2304845"/>
              <a:gd name="connsiteX0" fmla="*/ 0 w 2692686"/>
              <a:gd name="connsiteY0" fmla="*/ 1184824 h 2304845"/>
              <a:gd name="connsiteX1" fmla="*/ 692812 w 2692686"/>
              <a:gd name="connsiteY1" fmla="*/ 0 h 2304845"/>
              <a:gd name="connsiteX2" fmla="*/ 2046726 w 2692686"/>
              <a:gd name="connsiteY2" fmla="*/ 15696 h 2304845"/>
              <a:gd name="connsiteX3" fmla="*/ 2692686 w 2692686"/>
              <a:gd name="connsiteY3" fmla="*/ 1171748 h 2304845"/>
              <a:gd name="connsiteX4" fmla="*/ 2126137 w 2692686"/>
              <a:gd name="connsiteY4" fmla="*/ 2304845 h 2304845"/>
              <a:gd name="connsiteX5" fmla="*/ 630448 w 2692686"/>
              <a:gd name="connsiteY5" fmla="*/ 2304845 h 2304845"/>
              <a:gd name="connsiteX6" fmla="*/ 0 w 2692686"/>
              <a:gd name="connsiteY6" fmla="*/ 1184824 h 2304845"/>
              <a:gd name="connsiteX0" fmla="*/ 0 w 2736822"/>
              <a:gd name="connsiteY0" fmla="*/ 1184824 h 2304845"/>
              <a:gd name="connsiteX1" fmla="*/ 692812 w 2736822"/>
              <a:gd name="connsiteY1" fmla="*/ 0 h 2304845"/>
              <a:gd name="connsiteX2" fmla="*/ 2046726 w 2736822"/>
              <a:gd name="connsiteY2" fmla="*/ 15696 h 2304845"/>
              <a:gd name="connsiteX3" fmla="*/ 2736822 w 2736822"/>
              <a:gd name="connsiteY3" fmla="*/ 1188607 h 2304845"/>
              <a:gd name="connsiteX4" fmla="*/ 2126137 w 2736822"/>
              <a:gd name="connsiteY4" fmla="*/ 2304845 h 2304845"/>
              <a:gd name="connsiteX5" fmla="*/ 630448 w 2736822"/>
              <a:gd name="connsiteY5" fmla="*/ 2304845 h 2304845"/>
              <a:gd name="connsiteX6" fmla="*/ 0 w 2736822"/>
              <a:gd name="connsiteY6" fmla="*/ 1184824 h 2304845"/>
              <a:gd name="connsiteX0" fmla="*/ 0 w 2736822"/>
              <a:gd name="connsiteY0" fmla="*/ 1184824 h 2385603"/>
              <a:gd name="connsiteX1" fmla="*/ 692812 w 2736822"/>
              <a:gd name="connsiteY1" fmla="*/ 0 h 2385603"/>
              <a:gd name="connsiteX2" fmla="*/ 2046726 w 2736822"/>
              <a:gd name="connsiteY2" fmla="*/ 15696 h 2385603"/>
              <a:gd name="connsiteX3" fmla="*/ 2736822 w 2736822"/>
              <a:gd name="connsiteY3" fmla="*/ 1188607 h 2385603"/>
              <a:gd name="connsiteX4" fmla="*/ 2126137 w 2736822"/>
              <a:gd name="connsiteY4" fmla="*/ 2304845 h 2385603"/>
              <a:gd name="connsiteX5" fmla="*/ 687659 w 2736822"/>
              <a:gd name="connsiteY5" fmla="*/ 2385603 h 2385603"/>
              <a:gd name="connsiteX6" fmla="*/ 0 w 2736822"/>
              <a:gd name="connsiteY6" fmla="*/ 1184824 h 2385603"/>
              <a:gd name="connsiteX0" fmla="*/ 0 w 2736822"/>
              <a:gd name="connsiteY0" fmla="*/ 1184824 h 2385603"/>
              <a:gd name="connsiteX1" fmla="*/ 692812 w 2736822"/>
              <a:gd name="connsiteY1" fmla="*/ 0 h 2385603"/>
              <a:gd name="connsiteX2" fmla="*/ 2046726 w 2736822"/>
              <a:gd name="connsiteY2" fmla="*/ 15696 h 2385603"/>
              <a:gd name="connsiteX3" fmla="*/ 2736822 w 2736822"/>
              <a:gd name="connsiteY3" fmla="*/ 1188607 h 2385603"/>
              <a:gd name="connsiteX4" fmla="*/ 2058207 w 2736822"/>
              <a:gd name="connsiteY4" fmla="*/ 2370526 h 2385603"/>
              <a:gd name="connsiteX5" fmla="*/ 687659 w 2736822"/>
              <a:gd name="connsiteY5" fmla="*/ 2385603 h 2385603"/>
              <a:gd name="connsiteX6" fmla="*/ 0 w 2736822"/>
              <a:gd name="connsiteY6" fmla="*/ 1184824 h 2385603"/>
              <a:gd name="connsiteX0" fmla="*/ 0 w 2733384"/>
              <a:gd name="connsiteY0" fmla="*/ 1190779 h 2385603"/>
              <a:gd name="connsiteX1" fmla="*/ 689374 w 2733384"/>
              <a:gd name="connsiteY1" fmla="*/ 0 h 2385603"/>
              <a:gd name="connsiteX2" fmla="*/ 2043288 w 2733384"/>
              <a:gd name="connsiteY2" fmla="*/ 15696 h 2385603"/>
              <a:gd name="connsiteX3" fmla="*/ 2733384 w 2733384"/>
              <a:gd name="connsiteY3" fmla="*/ 1188607 h 2385603"/>
              <a:gd name="connsiteX4" fmla="*/ 2054769 w 2733384"/>
              <a:gd name="connsiteY4" fmla="*/ 2370526 h 2385603"/>
              <a:gd name="connsiteX5" fmla="*/ 684221 w 2733384"/>
              <a:gd name="connsiteY5" fmla="*/ 2385603 h 2385603"/>
              <a:gd name="connsiteX6" fmla="*/ 0 w 2733384"/>
              <a:gd name="connsiteY6" fmla="*/ 1190779 h 2385603"/>
              <a:gd name="connsiteX0" fmla="*/ 0 w 2733384"/>
              <a:gd name="connsiteY0" fmla="*/ 1190779 h 2379650"/>
              <a:gd name="connsiteX1" fmla="*/ 689374 w 2733384"/>
              <a:gd name="connsiteY1" fmla="*/ 0 h 2379650"/>
              <a:gd name="connsiteX2" fmla="*/ 2043288 w 2733384"/>
              <a:gd name="connsiteY2" fmla="*/ 15696 h 2379650"/>
              <a:gd name="connsiteX3" fmla="*/ 2733384 w 2733384"/>
              <a:gd name="connsiteY3" fmla="*/ 1188607 h 2379650"/>
              <a:gd name="connsiteX4" fmla="*/ 2054769 w 2733384"/>
              <a:gd name="connsiteY4" fmla="*/ 2370526 h 2379650"/>
              <a:gd name="connsiteX5" fmla="*/ 680784 w 2733384"/>
              <a:gd name="connsiteY5" fmla="*/ 2379650 h 2379650"/>
              <a:gd name="connsiteX6" fmla="*/ 0 w 2733384"/>
              <a:gd name="connsiteY6" fmla="*/ 1190779 h 2379650"/>
              <a:gd name="connsiteX0" fmla="*/ 0 w 2733384"/>
              <a:gd name="connsiteY0" fmla="*/ 1190779 h 2381328"/>
              <a:gd name="connsiteX1" fmla="*/ 689374 w 2733384"/>
              <a:gd name="connsiteY1" fmla="*/ 0 h 2381328"/>
              <a:gd name="connsiteX2" fmla="*/ 2043288 w 2733384"/>
              <a:gd name="connsiteY2" fmla="*/ 15696 h 2381328"/>
              <a:gd name="connsiteX3" fmla="*/ 2733384 w 2733384"/>
              <a:gd name="connsiteY3" fmla="*/ 1188607 h 2381328"/>
              <a:gd name="connsiteX4" fmla="*/ 2054769 w 2733384"/>
              <a:gd name="connsiteY4" fmla="*/ 2370526 h 2381328"/>
              <a:gd name="connsiteX5" fmla="*/ 687045 w 2733384"/>
              <a:gd name="connsiteY5" fmla="*/ 2381328 h 2381328"/>
              <a:gd name="connsiteX6" fmla="*/ 0 w 2733384"/>
              <a:gd name="connsiteY6" fmla="*/ 1190779 h 2381328"/>
              <a:gd name="connsiteX0" fmla="*/ 0 w 2733384"/>
              <a:gd name="connsiteY0" fmla="*/ 1190779 h 2381328"/>
              <a:gd name="connsiteX1" fmla="*/ 689374 w 2733384"/>
              <a:gd name="connsiteY1" fmla="*/ 0 h 2381328"/>
              <a:gd name="connsiteX2" fmla="*/ 2043288 w 2733384"/>
              <a:gd name="connsiteY2" fmla="*/ 15696 h 2381328"/>
              <a:gd name="connsiteX3" fmla="*/ 2733384 w 2733384"/>
              <a:gd name="connsiteY3" fmla="*/ 1188607 h 2381328"/>
              <a:gd name="connsiteX4" fmla="*/ 2054769 w 2733384"/>
              <a:gd name="connsiteY4" fmla="*/ 2370526 h 2381328"/>
              <a:gd name="connsiteX5" fmla="*/ 687045 w 2733384"/>
              <a:gd name="connsiteY5" fmla="*/ 2381328 h 2381328"/>
              <a:gd name="connsiteX6" fmla="*/ 0 w 2733384"/>
              <a:gd name="connsiteY6" fmla="*/ 1190779 h 2381328"/>
              <a:gd name="connsiteX0" fmla="*/ 0 w 2733384"/>
              <a:gd name="connsiteY0" fmla="*/ 1190779 h 2390987"/>
              <a:gd name="connsiteX1" fmla="*/ 689374 w 2733384"/>
              <a:gd name="connsiteY1" fmla="*/ 0 h 2390987"/>
              <a:gd name="connsiteX2" fmla="*/ 2043288 w 2733384"/>
              <a:gd name="connsiteY2" fmla="*/ 15696 h 2390987"/>
              <a:gd name="connsiteX3" fmla="*/ 2733384 w 2733384"/>
              <a:gd name="connsiteY3" fmla="*/ 1188607 h 2390987"/>
              <a:gd name="connsiteX4" fmla="*/ 2055997 w 2733384"/>
              <a:gd name="connsiteY4" fmla="*/ 2390987 h 2390987"/>
              <a:gd name="connsiteX5" fmla="*/ 687045 w 2733384"/>
              <a:gd name="connsiteY5" fmla="*/ 2381328 h 2390987"/>
              <a:gd name="connsiteX6" fmla="*/ 0 w 2733384"/>
              <a:gd name="connsiteY6" fmla="*/ 1190779 h 2390987"/>
              <a:gd name="connsiteX0" fmla="*/ 0 w 2733384"/>
              <a:gd name="connsiteY0" fmla="*/ 1190779 h 2384725"/>
              <a:gd name="connsiteX1" fmla="*/ 689374 w 2733384"/>
              <a:gd name="connsiteY1" fmla="*/ 0 h 2384725"/>
              <a:gd name="connsiteX2" fmla="*/ 2043288 w 2733384"/>
              <a:gd name="connsiteY2" fmla="*/ 15696 h 2384725"/>
              <a:gd name="connsiteX3" fmla="*/ 2733384 w 2733384"/>
              <a:gd name="connsiteY3" fmla="*/ 1188607 h 2384725"/>
              <a:gd name="connsiteX4" fmla="*/ 2057675 w 2733384"/>
              <a:gd name="connsiteY4" fmla="*/ 2384725 h 2384725"/>
              <a:gd name="connsiteX5" fmla="*/ 687045 w 2733384"/>
              <a:gd name="connsiteY5" fmla="*/ 2381328 h 2384725"/>
              <a:gd name="connsiteX6" fmla="*/ 0 w 2733384"/>
              <a:gd name="connsiteY6" fmla="*/ 1190779 h 2384725"/>
              <a:gd name="connsiteX0" fmla="*/ 0 w 2733384"/>
              <a:gd name="connsiteY0" fmla="*/ 1190779 h 2381594"/>
              <a:gd name="connsiteX1" fmla="*/ 689374 w 2733384"/>
              <a:gd name="connsiteY1" fmla="*/ 0 h 2381594"/>
              <a:gd name="connsiteX2" fmla="*/ 2043288 w 2733384"/>
              <a:gd name="connsiteY2" fmla="*/ 15696 h 2381594"/>
              <a:gd name="connsiteX3" fmla="*/ 2733384 w 2733384"/>
              <a:gd name="connsiteY3" fmla="*/ 1188607 h 2381594"/>
              <a:gd name="connsiteX4" fmla="*/ 2058513 w 2733384"/>
              <a:gd name="connsiteY4" fmla="*/ 2381594 h 2381594"/>
              <a:gd name="connsiteX5" fmla="*/ 687045 w 2733384"/>
              <a:gd name="connsiteY5" fmla="*/ 2381328 h 2381594"/>
              <a:gd name="connsiteX6" fmla="*/ 0 w 2733384"/>
              <a:gd name="connsiteY6" fmla="*/ 1190779 h 2381594"/>
              <a:gd name="connsiteX0" fmla="*/ 0 w 2733384"/>
              <a:gd name="connsiteY0" fmla="*/ 1181080 h 2371895"/>
              <a:gd name="connsiteX1" fmla="*/ 681743 w 2733384"/>
              <a:gd name="connsiteY1" fmla="*/ 0 h 2371895"/>
              <a:gd name="connsiteX2" fmla="*/ 2043288 w 2733384"/>
              <a:gd name="connsiteY2" fmla="*/ 5997 h 2371895"/>
              <a:gd name="connsiteX3" fmla="*/ 2733384 w 2733384"/>
              <a:gd name="connsiteY3" fmla="*/ 1178908 h 2371895"/>
              <a:gd name="connsiteX4" fmla="*/ 2058513 w 2733384"/>
              <a:gd name="connsiteY4" fmla="*/ 2371895 h 2371895"/>
              <a:gd name="connsiteX5" fmla="*/ 687045 w 2733384"/>
              <a:gd name="connsiteY5" fmla="*/ 2371629 h 2371895"/>
              <a:gd name="connsiteX6" fmla="*/ 0 w 2733384"/>
              <a:gd name="connsiteY6" fmla="*/ 1181080 h 2371895"/>
              <a:gd name="connsiteX0" fmla="*/ 0 w 2733384"/>
              <a:gd name="connsiteY0" fmla="*/ 1182227 h 2373042"/>
              <a:gd name="connsiteX1" fmla="*/ 683728 w 2733384"/>
              <a:gd name="connsiteY1" fmla="*/ 0 h 2373042"/>
              <a:gd name="connsiteX2" fmla="*/ 2043288 w 2733384"/>
              <a:gd name="connsiteY2" fmla="*/ 7144 h 2373042"/>
              <a:gd name="connsiteX3" fmla="*/ 2733384 w 2733384"/>
              <a:gd name="connsiteY3" fmla="*/ 1180055 h 2373042"/>
              <a:gd name="connsiteX4" fmla="*/ 2058513 w 2733384"/>
              <a:gd name="connsiteY4" fmla="*/ 2373042 h 2373042"/>
              <a:gd name="connsiteX5" fmla="*/ 687045 w 2733384"/>
              <a:gd name="connsiteY5" fmla="*/ 2372776 h 2373042"/>
              <a:gd name="connsiteX6" fmla="*/ 0 w 2733384"/>
              <a:gd name="connsiteY6" fmla="*/ 1182227 h 2373042"/>
              <a:gd name="connsiteX0" fmla="*/ 0 w 2733384"/>
              <a:gd name="connsiteY0" fmla="*/ 1182227 h 2373042"/>
              <a:gd name="connsiteX1" fmla="*/ 683728 w 2733384"/>
              <a:gd name="connsiteY1" fmla="*/ 0 h 2373042"/>
              <a:gd name="connsiteX2" fmla="*/ 2043288 w 2733384"/>
              <a:gd name="connsiteY2" fmla="*/ 7144 h 2373042"/>
              <a:gd name="connsiteX3" fmla="*/ 2733384 w 2733384"/>
              <a:gd name="connsiteY3" fmla="*/ 1180055 h 2373042"/>
              <a:gd name="connsiteX4" fmla="*/ 2058513 w 2733384"/>
              <a:gd name="connsiteY4" fmla="*/ 2373042 h 2373042"/>
              <a:gd name="connsiteX5" fmla="*/ 687045 w 2733384"/>
              <a:gd name="connsiteY5" fmla="*/ 2372776 h 2373042"/>
              <a:gd name="connsiteX6" fmla="*/ 0 w 2733384"/>
              <a:gd name="connsiteY6" fmla="*/ 1182227 h 2373042"/>
              <a:gd name="connsiteX0" fmla="*/ 0 w 2733384"/>
              <a:gd name="connsiteY0" fmla="*/ 1184518 h 2375333"/>
              <a:gd name="connsiteX1" fmla="*/ 687697 w 2733384"/>
              <a:gd name="connsiteY1" fmla="*/ 0 h 2375333"/>
              <a:gd name="connsiteX2" fmla="*/ 2043288 w 2733384"/>
              <a:gd name="connsiteY2" fmla="*/ 9435 h 2375333"/>
              <a:gd name="connsiteX3" fmla="*/ 2733384 w 2733384"/>
              <a:gd name="connsiteY3" fmla="*/ 1182346 h 2375333"/>
              <a:gd name="connsiteX4" fmla="*/ 2058513 w 2733384"/>
              <a:gd name="connsiteY4" fmla="*/ 2375333 h 2375333"/>
              <a:gd name="connsiteX5" fmla="*/ 687045 w 2733384"/>
              <a:gd name="connsiteY5" fmla="*/ 2375067 h 2375333"/>
              <a:gd name="connsiteX6" fmla="*/ 0 w 2733384"/>
              <a:gd name="connsiteY6" fmla="*/ 1184518 h 2375333"/>
              <a:gd name="connsiteX0" fmla="*/ 0 w 2733384"/>
              <a:gd name="connsiteY0" fmla="*/ 1177950 h 2368765"/>
              <a:gd name="connsiteX1" fmla="*/ 680904 w 2733384"/>
              <a:gd name="connsiteY1" fmla="*/ 0 h 2368765"/>
              <a:gd name="connsiteX2" fmla="*/ 2043288 w 2733384"/>
              <a:gd name="connsiteY2" fmla="*/ 2867 h 2368765"/>
              <a:gd name="connsiteX3" fmla="*/ 2733384 w 2733384"/>
              <a:gd name="connsiteY3" fmla="*/ 1175778 h 2368765"/>
              <a:gd name="connsiteX4" fmla="*/ 2058513 w 2733384"/>
              <a:gd name="connsiteY4" fmla="*/ 2368765 h 2368765"/>
              <a:gd name="connsiteX5" fmla="*/ 687045 w 2733384"/>
              <a:gd name="connsiteY5" fmla="*/ 2368499 h 2368765"/>
              <a:gd name="connsiteX6" fmla="*/ 0 w 2733384"/>
              <a:gd name="connsiteY6" fmla="*/ 1177950 h 2368765"/>
              <a:gd name="connsiteX0" fmla="*/ 0 w 2733384"/>
              <a:gd name="connsiteY0" fmla="*/ 1181388 h 2372203"/>
              <a:gd name="connsiteX1" fmla="*/ 686858 w 2733384"/>
              <a:gd name="connsiteY1" fmla="*/ 0 h 2372203"/>
              <a:gd name="connsiteX2" fmla="*/ 2043288 w 2733384"/>
              <a:gd name="connsiteY2" fmla="*/ 6305 h 2372203"/>
              <a:gd name="connsiteX3" fmla="*/ 2733384 w 2733384"/>
              <a:gd name="connsiteY3" fmla="*/ 1179216 h 2372203"/>
              <a:gd name="connsiteX4" fmla="*/ 2058513 w 2733384"/>
              <a:gd name="connsiteY4" fmla="*/ 2372203 h 2372203"/>
              <a:gd name="connsiteX5" fmla="*/ 687045 w 2733384"/>
              <a:gd name="connsiteY5" fmla="*/ 2371937 h 2372203"/>
              <a:gd name="connsiteX6" fmla="*/ 0 w 2733384"/>
              <a:gd name="connsiteY6" fmla="*/ 1181388 h 2372203"/>
              <a:gd name="connsiteX0" fmla="*/ 0 w 2733384"/>
              <a:gd name="connsiteY0" fmla="*/ 1183022 h 2373837"/>
              <a:gd name="connsiteX1" fmla="*/ 686858 w 2733384"/>
              <a:gd name="connsiteY1" fmla="*/ 1634 h 2373837"/>
              <a:gd name="connsiteX2" fmla="*/ 2038705 w 2733384"/>
              <a:gd name="connsiteY2" fmla="*/ 0 h 2373837"/>
              <a:gd name="connsiteX3" fmla="*/ 2733384 w 2733384"/>
              <a:gd name="connsiteY3" fmla="*/ 1180850 h 2373837"/>
              <a:gd name="connsiteX4" fmla="*/ 2058513 w 2733384"/>
              <a:gd name="connsiteY4" fmla="*/ 2373837 h 2373837"/>
              <a:gd name="connsiteX5" fmla="*/ 687045 w 2733384"/>
              <a:gd name="connsiteY5" fmla="*/ 2373571 h 2373837"/>
              <a:gd name="connsiteX6" fmla="*/ 0 w 2733384"/>
              <a:gd name="connsiteY6" fmla="*/ 1183022 h 2373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3384" h="2373837">
                <a:moveTo>
                  <a:pt x="0" y="1183022"/>
                </a:moveTo>
                <a:lnTo>
                  <a:pt x="686858" y="1634"/>
                </a:lnTo>
                <a:lnTo>
                  <a:pt x="2038705" y="0"/>
                </a:lnTo>
                <a:lnTo>
                  <a:pt x="2733384" y="1180850"/>
                </a:lnTo>
                <a:lnTo>
                  <a:pt x="2058513" y="2373837"/>
                </a:lnTo>
                <a:lnTo>
                  <a:pt x="687045" y="2373571"/>
                </a:lnTo>
                <a:lnTo>
                  <a:pt x="0" y="1183022"/>
                </a:lnTo>
                <a:close/>
              </a:path>
            </a:pathLst>
          </a:custGeom>
          <a:noFill/>
          <a:ln w="168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4CAFE99-CA6F-4F9B-ACA8-DF0B845BA336}"/>
              </a:ext>
            </a:extLst>
          </p:cNvPr>
          <p:cNvGrpSpPr/>
          <p:nvPr/>
        </p:nvGrpSpPr>
        <p:grpSpPr>
          <a:xfrm>
            <a:off x="8050970" y="3861903"/>
            <a:ext cx="1181417" cy="1114886"/>
            <a:chOff x="3094823" y="4030487"/>
            <a:chExt cx="2744314" cy="2589768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25CC75C-3A5F-4927-A329-5738BF2EE59A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5CA6CC5-F9E0-4F68-B877-A12CC12F563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471B7C-7F0D-448D-9F59-A6847B56E3AD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9387E2F-077C-4B98-97BB-5FA13F0526CD}"/>
              </a:ext>
            </a:extLst>
          </p:cNvPr>
          <p:cNvGrpSpPr/>
          <p:nvPr/>
        </p:nvGrpSpPr>
        <p:grpSpPr>
          <a:xfrm>
            <a:off x="2622794" y="703689"/>
            <a:ext cx="2328595" cy="5563049"/>
            <a:chOff x="-173269" y="890805"/>
            <a:chExt cx="4523821" cy="549536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A25419-9613-4D6D-B201-A7601453CF05}"/>
                </a:ext>
              </a:extLst>
            </p:cNvPr>
            <p:cNvSpPr/>
            <p:nvPr/>
          </p:nvSpPr>
          <p:spPr>
            <a:xfrm>
              <a:off x="-173269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855CBFC-D0D7-450E-B324-36DAE9C94A5B}"/>
                </a:ext>
              </a:extLst>
            </p:cNvPr>
            <p:cNvSpPr txBox="1"/>
            <p:nvPr/>
          </p:nvSpPr>
          <p:spPr>
            <a:xfrm>
              <a:off x="907678" y="890805"/>
              <a:ext cx="2361926" cy="346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556A0C-6168-43E7-8FDE-794808F4B9A1}"/>
              </a:ext>
            </a:extLst>
          </p:cNvPr>
          <p:cNvGrpSpPr/>
          <p:nvPr/>
        </p:nvGrpSpPr>
        <p:grpSpPr>
          <a:xfrm>
            <a:off x="7559748" y="5364565"/>
            <a:ext cx="1181417" cy="1114886"/>
            <a:chOff x="3094823" y="4030487"/>
            <a:chExt cx="2744314" cy="2589768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896BE30-1263-4714-95E4-E9FBBA3D2BC4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0718C67-CD77-4A29-A5A2-36EC083428DC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7024CE-D118-4519-9071-1141616FD34F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0090C00-1560-4489-A083-613104D3AFC7}"/>
              </a:ext>
            </a:extLst>
          </p:cNvPr>
          <p:cNvGrpSpPr/>
          <p:nvPr/>
        </p:nvGrpSpPr>
        <p:grpSpPr>
          <a:xfrm>
            <a:off x="9444661" y="4827584"/>
            <a:ext cx="1181417" cy="1114886"/>
            <a:chOff x="3094823" y="4030487"/>
            <a:chExt cx="2744314" cy="258976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63CFF34-E876-460A-B4B6-8CAFAC9F38E9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2981C27-31F2-475B-9682-84B08CCD0DCF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9455C09-1414-41F6-AA14-725A58CA56A4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718A0E6-091A-45D0-BF4D-A04D6EBE660B}"/>
              </a:ext>
            </a:extLst>
          </p:cNvPr>
          <p:cNvSpPr/>
          <p:nvPr/>
        </p:nvSpPr>
        <p:spPr>
          <a:xfrm>
            <a:off x="3479788" y="4236651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89C73876-169E-4460-AC3E-FE4A8016E804}"/>
              </a:ext>
            </a:extLst>
          </p:cNvPr>
          <p:cNvSpPr/>
          <p:nvPr/>
        </p:nvSpPr>
        <p:spPr>
          <a:xfrm>
            <a:off x="3479788" y="5401629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3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A99AD951-3AB2-40CC-B2AC-2E94FDBC70FB}"/>
              </a:ext>
            </a:extLst>
          </p:cNvPr>
          <p:cNvSpPr/>
          <p:nvPr/>
        </p:nvSpPr>
        <p:spPr>
          <a:xfrm>
            <a:off x="3479788" y="4842746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6667FA-4477-4853-8B6E-73AE67495E70}"/>
              </a:ext>
            </a:extLst>
          </p:cNvPr>
          <p:cNvSpPr txBox="1"/>
          <p:nvPr/>
        </p:nvSpPr>
        <p:spPr>
          <a:xfrm>
            <a:off x="8369479" y="3926927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05A7C73-B627-463B-AB04-71C5A4904E82}"/>
              </a:ext>
            </a:extLst>
          </p:cNvPr>
          <p:cNvSpPr txBox="1"/>
          <p:nvPr/>
        </p:nvSpPr>
        <p:spPr>
          <a:xfrm>
            <a:off x="7875547" y="542586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C3DC733-B9EA-4BDE-9056-F5B4C1E0B4B0}"/>
              </a:ext>
            </a:extLst>
          </p:cNvPr>
          <p:cNvSpPr txBox="1"/>
          <p:nvPr/>
        </p:nvSpPr>
        <p:spPr>
          <a:xfrm>
            <a:off x="9779233" y="4866977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E3038FB-7E39-44B7-B646-36FA93E4A4E6}"/>
              </a:ext>
            </a:extLst>
          </p:cNvPr>
          <p:cNvSpPr/>
          <p:nvPr/>
        </p:nvSpPr>
        <p:spPr>
          <a:xfrm>
            <a:off x="3080214" y="3878655"/>
            <a:ext cx="1251332" cy="2275656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003A512-C78D-4585-98DA-9F23A18CA65F}"/>
              </a:ext>
            </a:extLst>
          </p:cNvPr>
          <p:cNvSpPr/>
          <p:nvPr/>
        </p:nvSpPr>
        <p:spPr>
          <a:xfrm>
            <a:off x="7405814" y="2643475"/>
            <a:ext cx="3157292" cy="3871806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143EA5-7747-4086-A255-4690C88D5144}"/>
              </a:ext>
            </a:extLst>
          </p:cNvPr>
          <p:cNvGrpSpPr/>
          <p:nvPr/>
        </p:nvGrpSpPr>
        <p:grpSpPr>
          <a:xfrm>
            <a:off x="8461460" y="1637397"/>
            <a:ext cx="1181417" cy="1114886"/>
            <a:chOff x="3094823" y="4030487"/>
            <a:chExt cx="2744314" cy="258976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B3DD72-FB28-4FD7-A83A-3995E319FBAD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6BDEE1D-40B3-4872-AD0D-B7FFD6580AA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8D32885-E7F9-4212-A642-E4168539E3F3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B304619-852E-41A9-9A3A-9E7C9A8EB376}"/>
              </a:ext>
            </a:extLst>
          </p:cNvPr>
          <p:cNvSpPr txBox="1"/>
          <p:nvPr/>
        </p:nvSpPr>
        <p:spPr>
          <a:xfrm>
            <a:off x="8779969" y="1680573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BA642D6C-6692-43A3-BD5B-43994681C532}"/>
              </a:ext>
            </a:extLst>
          </p:cNvPr>
          <p:cNvSpPr/>
          <p:nvPr/>
        </p:nvSpPr>
        <p:spPr>
          <a:xfrm>
            <a:off x="3479788" y="3002991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0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2471A43-F428-400B-8197-B93AE1946D45}"/>
              </a:ext>
            </a:extLst>
          </p:cNvPr>
          <p:cNvSpPr/>
          <p:nvPr/>
        </p:nvSpPr>
        <p:spPr>
          <a:xfrm>
            <a:off x="3080214" y="2646654"/>
            <a:ext cx="1251332" cy="841279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12D1AD1-9BAC-4B66-9C82-CC442857AB8B}"/>
              </a:ext>
            </a:extLst>
          </p:cNvPr>
          <p:cNvCxnSpPr>
            <a:cxnSpLocks/>
            <a:endCxn id="81" idx="2"/>
          </p:cNvCxnSpPr>
          <p:nvPr/>
        </p:nvCxnSpPr>
        <p:spPr>
          <a:xfrm flipV="1">
            <a:off x="3705880" y="3309458"/>
            <a:ext cx="1" cy="569198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76CCF50B-A464-4106-8902-07B312AC5676}"/>
              </a:ext>
            </a:extLst>
          </p:cNvPr>
          <p:cNvCxnSpPr>
            <a:cxnSpLocks/>
            <a:stCxn id="81" idx="3"/>
          </p:cNvCxnSpPr>
          <p:nvPr/>
        </p:nvCxnSpPr>
        <p:spPr>
          <a:xfrm flipV="1">
            <a:off x="3931973" y="1969241"/>
            <a:ext cx="4893002" cy="1186984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58B49698-5B3B-4FC8-81BE-98E6B5D8B071}"/>
              </a:ext>
            </a:extLst>
          </p:cNvPr>
          <p:cNvSpPr txBox="1"/>
          <p:nvPr/>
        </p:nvSpPr>
        <p:spPr>
          <a:xfrm rot="20817879">
            <a:off x="5709508" y="2325412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FB1A358-B008-4186-A737-9CF18E0A33DA}"/>
              </a:ext>
            </a:extLst>
          </p:cNvPr>
          <p:cNvCxnSpPr>
            <a:cxnSpLocks/>
            <a:stCxn id="45" idx="3"/>
          </p:cNvCxnSpPr>
          <p:nvPr/>
        </p:nvCxnSpPr>
        <p:spPr>
          <a:xfrm flipV="1">
            <a:off x="3931973" y="4109757"/>
            <a:ext cx="4390300" cy="280128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F87E36A6-513F-4965-AE8D-1518AD461EFD}"/>
              </a:ext>
            </a:extLst>
          </p:cNvPr>
          <p:cNvSpPr txBox="1"/>
          <p:nvPr/>
        </p:nvSpPr>
        <p:spPr>
          <a:xfrm rot="21354428">
            <a:off x="5767586" y="3954263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9352CF49-808F-4429-B601-12B1B74EBAD2}"/>
              </a:ext>
            </a:extLst>
          </p:cNvPr>
          <p:cNvCxnSpPr>
            <a:cxnSpLocks/>
            <a:stCxn id="56" idx="3"/>
          </p:cNvCxnSpPr>
          <p:nvPr/>
        </p:nvCxnSpPr>
        <p:spPr>
          <a:xfrm>
            <a:off x="3931973" y="4995980"/>
            <a:ext cx="5919693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AEE8529C-0786-468C-B144-13C8EFF1EA67}"/>
              </a:ext>
            </a:extLst>
          </p:cNvPr>
          <p:cNvSpPr txBox="1"/>
          <p:nvPr/>
        </p:nvSpPr>
        <p:spPr>
          <a:xfrm>
            <a:off x="5806655" y="4663490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0A73A07-079C-4126-AC86-565092DEBF80}"/>
              </a:ext>
            </a:extLst>
          </p:cNvPr>
          <p:cNvCxnSpPr>
            <a:cxnSpLocks/>
            <a:stCxn id="52" idx="3"/>
          </p:cNvCxnSpPr>
          <p:nvPr/>
        </p:nvCxnSpPr>
        <p:spPr>
          <a:xfrm>
            <a:off x="3931973" y="5554863"/>
            <a:ext cx="3987526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324F2B03-97AC-48D2-9037-2D6D458DC295}"/>
              </a:ext>
            </a:extLst>
          </p:cNvPr>
          <p:cNvSpPr txBox="1"/>
          <p:nvPr/>
        </p:nvSpPr>
        <p:spPr>
          <a:xfrm>
            <a:off x="5806655" y="5232351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A8FE7D0E-098E-4A37-8B90-BEC7F332989B}"/>
              </a:ext>
            </a:extLst>
          </p:cNvPr>
          <p:cNvCxnSpPr>
            <a:cxnSpLocks/>
            <a:endCxn id="63" idx="2"/>
          </p:cNvCxnSpPr>
          <p:nvPr/>
        </p:nvCxnSpPr>
        <p:spPr>
          <a:xfrm flipV="1">
            <a:off x="4325278" y="2049905"/>
            <a:ext cx="4613351" cy="197312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A710CE31-DA93-4DA0-8C58-89C9BEDDEF25}"/>
              </a:ext>
            </a:extLst>
          </p:cNvPr>
          <p:cNvSpPr txBox="1"/>
          <p:nvPr/>
        </p:nvSpPr>
        <p:spPr>
          <a:xfrm rot="20211248">
            <a:off x="4637719" y="3005300"/>
            <a:ext cx="2627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collectively models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06C70BF-2934-4A5D-BC67-67D6670B1331}"/>
              </a:ext>
            </a:extLst>
          </p:cNvPr>
          <p:cNvGrpSpPr/>
          <p:nvPr/>
        </p:nvGrpSpPr>
        <p:grpSpPr>
          <a:xfrm>
            <a:off x="7240612" y="703689"/>
            <a:ext cx="3509116" cy="5887941"/>
            <a:chOff x="7421438" y="796949"/>
            <a:chExt cx="3328289" cy="5495363"/>
          </a:xfrm>
        </p:grpSpPr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3C616B9D-0DC6-4030-AD04-223BD4E2DFE0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260EB63-4184-4710-A500-AE10E451D1A0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AE5EAB7C-B857-4EB4-A0C5-6AA9F78C845B}"/>
              </a:ext>
            </a:extLst>
          </p:cNvPr>
          <p:cNvSpPr txBox="1"/>
          <p:nvPr/>
        </p:nvSpPr>
        <p:spPr>
          <a:xfrm>
            <a:off x="3662245" y="351807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BC1E25F-6E57-485C-A15F-F3278640074B}"/>
              </a:ext>
            </a:extLst>
          </p:cNvPr>
          <p:cNvCxnSpPr>
            <a:cxnSpLocks/>
            <a:stCxn id="84" idx="0"/>
            <a:endCxn id="73" idx="2"/>
          </p:cNvCxnSpPr>
          <p:nvPr/>
        </p:nvCxnSpPr>
        <p:spPr>
          <a:xfrm flipV="1">
            <a:off x="3705880" y="2241004"/>
            <a:ext cx="1" cy="40565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Speech Bubble: Rectangle with Corners Rounded 53">
            <a:extLst>
              <a:ext uri="{FF2B5EF4-FFF2-40B4-BE49-F238E27FC236}">
                <a16:creationId xmlns:a16="http://schemas.microsoft.com/office/drawing/2014/main" id="{49AC01F1-039F-4E94-BDA2-7D7D14BAC5C2}"/>
              </a:ext>
            </a:extLst>
          </p:cNvPr>
          <p:cNvSpPr/>
          <p:nvPr/>
        </p:nvSpPr>
        <p:spPr>
          <a:xfrm>
            <a:off x="9672888" y="783702"/>
            <a:ext cx="991999" cy="485383"/>
          </a:xfrm>
          <a:prstGeom prst="wedgeRoundRectCallout">
            <a:avLst>
              <a:gd name="adj1" fmla="val -118692"/>
              <a:gd name="adj2" fmla="val 103284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“Whole” Object </a:t>
            </a:r>
          </a:p>
        </p:txBody>
      </p:sp>
      <p:sp>
        <p:nvSpPr>
          <p:cNvPr id="55" name="Speech Bubble: Rectangle with Corners Rounded 54">
            <a:extLst>
              <a:ext uri="{FF2B5EF4-FFF2-40B4-BE49-F238E27FC236}">
                <a16:creationId xmlns:a16="http://schemas.microsoft.com/office/drawing/2014/main" id="{076BA410-B232-42E4-9242-0E4B4F4B03E6}"/>
              </a:ext>
            </a:extLst>
          </p:cNvPr>
          <p:cNvSpPr/>
          <p:nvPr/>
        </p:nvSpPr>
        <p:spPr>
          <a:xfrm>
            <a:off x="9133750" y="2797840"/>
            <a:ext cx="1326801" cy="761847"/>
          </a:xfrm>
          <a:prstGeom prst="wedgeRoundRectCallout">
            <a:avLst>
              <a:gd name="adj1" fmla="val -45116"/>
              <a:gd name="adj2" fmla="val 210691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“Parts” of the “Whole” Object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2B1AD996-C4E0-475A-A099-BA91459D9912}"/>
              </a:ext>
            </a:extLst>
          </p:cNvPr>
          <p:cNvSpPr/>
          <p:nvPr/>
        </p:nvSpPr>
        <p:spPr>
          <a:xfrm>
            <a:off x="2848021" y="1014452"/>
            <a:ext cx="1726954" cy="139583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F68A7049-2325-4A02-A61B-BFE196052CCA}"/>
              </a:ext>
            </a:extLst>
          </p:cNvPr>
          <p:cNvSpPr/>
          <p:nvPr/>
        </p:nvSpPr>
        <p:spPr>
          <a:xfrm>
            <a:off x="3034139" y="1934537"/>
            <a:ext cx="1343483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PhysicalPartition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DEFECFC1-660C-484C-A76F-72A39E0AB0AC}"/>
              </a:ext>
            </a:extLst>
          </p:cNvPr>
          <p:cNvSpPr/>
          <p:nvPr/>
        </p:nvSpPr>
        <p:spPr>
          <a:xfrm>
            <a:off x="3344405" y="1362477"/>
            <a:ext cx="722950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Subject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342435D-0906-4673-BDCA-83AF7DFC5103}"/>
              </a:ext>
            </a:extLst>
          </p:cNvPr>
          <p:cNvCxnSpPr>
            <a:cxnSpLocks/>
          </p:cNvCxnSpPr>
          <p:nvPr/>
        </p:nvCxnSpPr>
        <p:spPr>
          <a:xfrm>
            <a:off x="3705880" y="1668944"/>
            <a:ext cx="1" cy="265593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6B5C7700-7495-48FA-AE01-553BD96D1CA4}"/>
              </a:ext>
            </a:extLst>
          </p:cNvPr>
          <p:cNvSpPr txBox="1"/>
          <p:nvPr/>
        </p:nvSpPr>
        <p:spPr>
          <a:xfrm>
            <a:off x="2848021" y="993623"/>
            <a:ext cx="1738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>
                    <a:lumMod val="50000"/>
                  </a:schemeClr>
                </a:solidFill>
              </a:rPr>
              <a:t>RepositoryModel</a:t>
            </a:r>
            <a:endParaRPr lang="en-US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8521AEBD-3F25-404B-998B-7AAF37C31952}"/>
              </a:ext>
            </a:extLst>
          </p:cNvPr>
          <p:cNvSpPr txBox="1"/>
          <p:nvPr/>
        </p:nvSpPr>
        <p:spPr>
          <a:xfrm>
            <a:off x="2836786" y="2638464"/>
            <a:ext cx="1738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38ADB"/>
                </a:solidFill>
              </a:rPr>
              <a:t>Top-Model</a:t>
            </a:r>
            <a:endParaRPr lang="en-US" sz="1600" dirty="0">
              <a:solidFill>
                <a:srgbClr val="038ADB"/>
              </a:solidFill>
            </a:endParaRP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AB837CF9-864F-445F-B107-08540DA84671}"/>
              </a:ext>
            </a:extLst>
          </p:cNvPr>
          <p:cNvCxnSpPr>
            <a:cxnSpLocks/>
            <a:stCxn id="74" idx="3"/>
            <a:endCxn id="54" idx="4"/>
          </p:cNvCxnSpPr>
          <p:nvPr/>
        </p:nvCxnSpPr>
        <p:spPr>
          <a:xfrm>
            <a:off x="4067355" y="1515711"/>
            <a:ext cx="4924109" cy="12005"/>
          </a:xfrm>
          <a:prstGeom prst="straightConnector1">
            <a:avLst/>
          </a:prstGeom>
          <a:ln w="38100">
            <a:solidFill>
              <a:srgbClr val="A6AFB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C6168E25-DABE-4F93-AAB4-EDD6267D374B}"/>
              </a:ext>
            </a:extLst>
          </p:cNvPr>
          <p:cNvSpPr txBox="1"/>
          <p:nvPr/>
        </p:nvSpPr>
        <p:spPr>
          <a:xfrm>
            <a:off x="4856556" y="1229544"/>
            <a:ext cx="27258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entions real-world Object</a:t>
            </a:r>
          </a:p>
        </p:txBody>
      </p: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EE992782-B17F-4770-9C4D-71ABE099E8FC}"/>
              </a:ext>
            </a:extLst>
          </p:cNvPr>
          <p:cNvCxnSpPr>
            <a:cxnSpLocks/>
            <a:stCxn id="73" idx="3"/>
          </p:cNvCxnSpPr>
          <p:nvPr/>
        </p:nvCxnSpPr>
        <p:spPr>
          <a:xfrm flipV="1">
            <a:off x="4377622" y="1852654"/>
            <a:ext cx="4337008" cy="235117"/>
          </a:xfrm>
          <a:prstGeom prst="straightConnector1">
            <a:avLst/>
          </a:prstGeom>
          <a:ln w="38100">
            <a:solidFill>
              <a:srgbClr val="A6AFB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739DE1F8-CFE8-4D13-BFBA-495B8F2AB32C}"/>
              </a:ext>
            </a:extLst>
          </p:cNvPr>
          <p:cNvSpPr txBox="1"/>
          <p:nvPr/>
        </p:nvSpPr>
        <p:spPr>
          <a:xfrm rot="21426358">
            <a:off x="4184113" y="1708214"/>
            <a:ext cx="41322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stablishes the perspective-Entity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B063C67-49A9-4F88-92A8-E65DA0C423D0}"/>
              </a:ext>
            </a:extLst>
          </p:cNvPr>
          <p:cNvSpPr txBox="1"/>
          <p:nvPr/>
        </p:nvSpPr>
        <p:spPr>
          <a:xfrm rot="20211248">
            <a:off x="4790119" y="3221308"/>
            <a:ext cx="2627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(at finer granularity)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AEE2F07-8F7C-46BC-B5E8-00814C167531}"/>
              </a:ext>
            </a:extLst>
          </p:cNvPr>
          <p:cNvSpPr txBox="1"/>
          <p:nvPr/>
        </p:nvSpPr>
        <p:spPr>
          <a:xfrm>
            <a:off x="2836786" y="3893391"/>
            <a:ext cx="1738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38ADB"/>
                </a:solidFill>
              </a:rPr>
              <a:t>Model</a:t>
            </a:r>
            <a:endParaRPr lang="en-US" sz="1600" dirty="0">
              <a:solidFill>
                <a:srgbClr val="038ADB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A192F71-F221-494D-A1CC-26FF1E37137E}"/>
              </a:ext>
            </a:extLst>
          </p:cNvPr>
          <p:cNvSpPr txBox="1"/>
          <p:nvPr/>
        </p:nvSpPr>
        <p:spPr>
          <a:xfrm>
            <a:off x="3662245" y="236485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</p:spTree>
    <p:extLst>
      <p:ext uri="{BB962C8B-B14F-4D97-AF65-F5344CB8AC3E}">
        <p14:creationId xmlns:p14="http://schemas.microsoft.com/office/powerpoint/2010/main" val="42328465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73" grpId="0" animBg="1"/>
      <p:bldP spid="74" grpId="0" animBg="1"/>
      <p:bldP spid="78" grpId="0"/>
      <p:bldP spid="85" grpId="0"/>
      <p:bldP spid="90" grpId="0"/>
      <p:bldP spid="94" grpId="0"/>
      <p:bldP spid="9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Hexagon 1">
            <a:extLst>
              <a:ext uri="{FF2B5EF4-FFF2-40B4-BE49-F238E27FC236}">
                <a16:creationId xmlns:a16="http://schemas.microsoft.com/office/drawing/2014/main" id="{3AB080B9-3D93-4E60-856A-E7255A38A217}"/>
              </a:ext>
            </a:extLst>
          </p:cNvPr>
          <p:cNvSpPr/>
          <p:nvPr/>
        </p:nvSpPr>
        <p:spPr>
          <a:xfrm rot="1800000">
            <a:off x="5929924" y="1690245"/>
            <a:ext cx="1123561" cy="975769"/>
          </a:xfrm>
          <a:custGeom>
            <a:avLst/>
            <a:gdLst>
              <a:gd name="connsiteX0" fmla="*/ 0 w 2628787"/>
              <a:gd name="connsiteY0" fmla="*/ 1133098 h 2266196"/>
              <a:gd name="connsiteX1" fmla="*/ 566549 w 2628787"/>
              <a:gd name="connsiteY1" fmla="*/ 1 h 2266196"/>
              <a:gd name="connsiteX2" fmla="*/ 2062238 w 2628787"/>
              <a:gd name="connsiteY2" fmla="*/ 1 h 2266196"/>
              <a:gd name="connsiteX3" fmla="*/ 2628787 w 2628787"/>
              <a:gd name="connsiteY3" fmla="*/ 1133098 h 2266196"/>
              <a:gd name="connsiteX4" fmla="*/ 2062238 w 2628787"/>
              <a:gd name="connsiteY4" fmla="*/ 2266195 h 2266196"/>
              <a:gd name="connsiteX5" fmla="*/ 566549 w 2628787"/>
              <a:gd name="connsiteY5" fmla="*/ 2266195 h 2266196"/>
              <a:gd name="connsiteX6" fmla="*/ 0 w 2628787"/>
              <a:gd name="connsiteY6" fmla="*/ 1133098 h 2266196"/>
              <a:gd name="connsiteX0" fmla="*/ 0 w 2692686"/>
              <a:gd name="connsiteY0" fmla="*/ 1146173 h 2266194"/>
              <a:gd name="connsiteX1" fmla="*/ 630448 w 2692686"/>
              <a:gd name="connsiteY1" fmla="*/ 0 h 2266194"/>
              <a:gd name="connsiteX2" fmla="*/ 2126137 w 2692686"/>
              <a:gd name="connsiteY2" fmla="*/ 0 h 2266194"/>
              <a:gd name="connsiteX3" fmla="*/ 2692686 w 2692686"/>
              <a:gd name="connsiteY3" fmla="*/ 1133097 h 2266194"/>
              <a:gd name="connsiteX4" fmla="*/ 2126137 w 2692686"/>
              <a:gd name="connsiteY4" fmla="*/ 2266194 h 2266194"/>
              <a:gd name="connsiteX5" fmla="*/ 630448 w 2692686"/>
              <a:gd name="connsiteY5" fmla="*/ 2266194 h 2266194"/>
              <a:gd name="connsiteX6" fmla="*/ 0 w 2692686"/>
              <a:gd name="connsiteY6" fmla="*/ 1146173 h 2266194"/>
              <a:gd name="connsiteX0" fmla="*/ 0 w 2692686"/>
              <a:gd name="connsiteY0" fmla="*/ 1184824 h 2304845"/>
              <a:gd name="connsiteX1" fmla="*/ 692812 w 2692686"/>
              <a:gd name="connsiteY1" fmla="*/ 0 h 2304845"/>
              <a:gd name="connsiteX2" fmla="*/ 2126137 w 2692686"/>
              <a:gd name="connsiteY2" fmla="*/ 38651 h 2304845"/>
              <a:gd name="connsiteX3" fmla="*/ 2692686 w 2692686"/>
              <a:gd name="connsiteY3" fmla="*/ 1171748 h 2304845"/>
              <a:gd name="connsiteX4" fmla="*/ 2126137 w 2692686"/>
              <a:gd name="connsiteY4" fmla="*/ 2304845 h 2304845"/>
              <a:gd name="connsiteX5" fmla="*/ 630448 w 2692686"/>
              <a:gd name="connsiteY5" fmla="*/ 2304845 h 2304845"/>
              <a:gd name="connsiteX6" fmla="*/ 0 w 2692686"/>
              <a:gd name="connsiteY6" fmla="*/ 1184824 h 2304845"/>
              <a:gd name="connsiteX0" fmla="*/ 0 w 2692686"/>
              <a:gd name="connsiteY0" fmla="*/ 1184824 h 2304845"/>
              <a:gd name="connsiteX1" fmla="*/ 692812 w 2692686"/>
              <a:gd name="connsiteY1" fmla="*/ 0 h 2304845"/>
              <a:gd name="connsiteX2" fmla="*/ 2046726 w 2692686"/>
              <a:gd name="connsiteY2" fmla="*/ 15696 h 2304845"/>
              <a:gd name="connsiteX3" fmla="*/ 2692686 w 2692686"/>
              <a:gd name="connsiteY3" fmla="*/ 1171748 h 2304845"/>
              <a:gd name="connsiteX4" fmla="*/ 2126137 w 2692686"/>
              <a:gd name="connsiteY4" fmla="*/ 2304845 h 2304845"/>
              <a:gd name="connsiteX5" fmla="*/ 630448 w 2692686"/>
              <a:gd name="connsiteY5" fmla="*/ 2304845 h 2304845"/>
              <a:gd name="connsiteX6" fmla="*/ 0 w 2692686"/>
              <a:gd name="connsiteY6" fmla="*/ 1184824 h 2304845"/>
              <a:gd name="connsiteX0" fmla="*/ 0 w 2736822"/>
              <a:gd name="connsiteY0" fmla="*/ 1184824 h 2304845"/>
              <a:gd name="connsiteX1" fmla="*/ 692812 w 2736822"/>
              <a:gd name="connsiteY1" fmla="*/ 0 h 2304845"/>
              <a:gd name="connsiteX2" fmla="*/ 2046726 w 2736822"/>
              <a:gd name="connsiteY2" fmla="*/ 15696 h 2304845"/>
              <a:gd name="connsiteX3" fmla="*/ 2736822 w 2736822"/>
              <a:gd name="connsiteY3" fmla="*/ 1188607 h 2304845"/>
              <a:gd name="connsiteX4" fmla="*/ 2126137 w 2736822"/>
              <a:gd name="connsiteY4" fmla="*/ 2304845 h 2304845"/>
              <a:gd name="connsiteX5" fmla="*/ 630448 w 2736822"/>
              <a:gd name="connsiteY5" fmla="*/ 2304845 h 2304845"/>
              <a:gd name="connsiteX6" fmla="*/ 0 w 2736822"/>
              <a:gd name="connsiteY6" fmla="*/ 1184824 h 2304845"/>
              <a:gd name="connsiteX0" fmla="*/ 0 w 2736822"/>
              <a:gd name="connsiteY0" fmla="*/ 1184824 h 2385603"/>
              <a:gd name="connsiteX1" fmla="*/ 692812 w 2736822"/>
              <a:gd name="connsiteY1" fmla="*/ 0 h 2385603"/>
              <a:gd name="connsiteX2" fmla="*/ 2046726 w 2736822"/>
              <a:gd name="connsiteY2" fmla="*/ 15696 h 2385603"/>
              <a:gd name="connsiteX3" fmla="*/ 2736822 w 2736822"/>
              <a:gd name="connsiteY3" fmla="*/ 1188607 h 2385603"/>
              <a:gd name="connsiteX4" fmla="*/ 2126137 w 2736822"/>
              <a:gd name="connsiteY4" fmla="*/ 2304845 h 2385603"/>
              <a:gd name="connsiteX5" fmla="*/ 687659 w 2736822"/>
              <a:gd name="connsiteY5" fmla="*/ 2385603 h 2385603"/>
              <a:gd name="connsiteX6" fmla="*/ 0 w 2736822"/>
              <a:gd name="connsiteY6" fmla="*/ 1184824 h 2385603"/>
              <a:gd name="connsiteX0" fmla="*/ 0 w 2736822"/>
              <a:gd name="connsiteY0" fmla="*/ 1184824 h 2385603"/>
              <a:gd name="connsiteX1" fmla="*/ 692812 w 2736822"/>
              <a:gd name="connsiteY1" fmla="*/ 0 h 2385603"/>
              <a:gd name="connsiteX2" fmla="*/ 2046726 w 2736822"/>
              <a:gd name="connsiteY2" fmla="*/ 15696 h 2385603"/>
              <a:gd name="connsiteX3" fmla="*/ 2736822 w 2736822"/>
              <a:gd name="connsiteY3" fmla="*/ 1188607 h 2385603"/>
              <a:gd name="connsiteX4" fmla="*/ 2058207 w 2736822"/>
              <a:gd name="connsiteY4" fmla="*/ 2370526 h 2385603"/>
              <a:gd name="connsiteX5" fmla="*/ 687659 w 2736822"/>
              <a:gd name="connsiteY5" fmla="*/ 2385603 h 2385603"/>
              <a:gd name="connsiteX6" fmla="*/ 0 w 2736822"/>
              <a:gd name="connsiteY6" fmla="*/ 1184824 h 2385603"/>
              <a:gd name="connsiteX0" fmla="*/ 0 w 2733384"/>
              <a:gd name="connsiteY0" fmla="*/ 1190779 h 2385603"/>
              <a:gd name="connsiteX1" fmla="*/ 689374 w 2733384"/>
              <a:gd name="connsiteY1" fmla="*/ 0 h 2385603"/>
              <a:gd name="connsiteX2" fmla="*/ 2043288 w 2733384"/>
              <a:gd name="connsiteY2" fmla="*/ 15696 h 2385603"/>
              <a:gd name="connsiteX3" fmla="*/ 2733384 w 2733384"/>
              <a:gd name="connsiteY3" fmla="*/ 1188607 h 2385603"/>
              <a:gd name="connsiteX4" fmla="*/ 2054769 w 2733384"/>
              <a:gd name="connsiteY4" fmla="*/ 2370526 h 2385603"/>
              <a:gd name="connsiteX5" fmla="*/ 684221 w 2733384"/>
              <a:gd name="connsiteY5" fmla="*/ 2385603 h 2385603"/>
              <a:gd name="connsiteX6" fmla="*/ 0 w 2733384"/>
              <a:gd name="connsiteY6" fmla="*/ 1190779 h 2385603"/>
              <a:gd name="connsiteX0" fmla="*/ 0 w 2733384"/>
              <a:gd name="connsiteY0" fmla="*/ 1190779 h 2379650"/>
              <a:gd name="connsiteX1" fmla="*/ 689374 w 2733384"/>
              <a:gd name="connsiteY1" fmla="*/ 0 h 2379650"/>
              <a:gd name="connsiteX2" fmla="*/ 2043288 w 2733384"/>
              <a:gd name="connsiteY2" fmla="*/ 15696 h 2379650"/>
              <a:gd name="connsiteX3" fmla="*/ 2733384 w 2733384"/>
              <a:gd name="connsiteY3" fmla="*/ 1188607 h 2379650"/>
              <a:gd name="connsiteX4" fmla="*/ 2054769 w 2733384"/>
              <a:gd name="connsiteY4" fmla="*/ 2370526 h 2379650"/>
              <a:gd name="connsiteX5" fmla="*/ 680784 w 2733384"/>
              <a:gd name="connsiteY5" fmla="*/ 2379650 h 2379650"/>
              <a:gd name="connsiteX6" fmla="*/ 0 w 2733384"/>
              <a:gd name="connsiteY6" fmla="*/ 1190779 h 2379650"/>
              <a:gd name="connsiteX0" fmla="*/ 0 w 2733384"/>
              <a:gd name="connsiteY0" fmla="*/ 1190779 h 2381328"/>
              <a:gd name="connsiteX1" fmla="*/ 689374 w 2733384"/>
              <a:gd name="connsiteY1" fmla="*/ 0 h 2381328"/>
              <a:gd name="connsiteX2" fmla="*/ 2043288 w 2733384"/>
              <a:gd name="connsiteY2" fmla="*/ 15696 h 2381328"/>
              <a:gd name="connsiteX3" fmla="*/ 2733384 w 2733384"/>
              <a:gd name="connsiteY3" fmla="*/ 1188607 h 2381328"/>
              <a:gd name="connsiteX4" fmla="*/ 2054769 w 2733384"/>
              <a:gd name="connsiteY4" fmla="*/ 2370526 h 2381328"/>
              <a:gd name="connsiteX5" fmla="*/ 687045 w 2733384"/>
              <a:gd name="connsiteY5" fmla="*/ 2381328 h 2381328"/>
              <a:gd name="connsiteX6" fmla="*/ 0 w 2733384"/>
              <a:gd name="connsiteY6" fmla="*/ 1190779 h 2381328"/>
              <a:gd name="connsiteX0" fmla="*/ 0 w 2733384"/>
              <a:gd name="connsiteY0" fmla="*/ 1190779 h 2381328"/>
              <a:gd name="connsiteX1" fmla="*/ 689374 w 2733384"/>
              <a:gd name="connsiteY1" fmla="*/ 0 h 2381328"/>
              <a:gd name="connsiteX2" fmla="*/ 2043288 w 2733384"/>
              <a:gd name="connsiteY2" fmla="*/ 15696 h 2381328"/>
              <a:gd name="connsiteX3" fmla="*/ 2733384 w 2733384"/>
              <a:gd name="connsiteY3" fmla="*/ 1188607 h 2381328"/>
              <a:gd name="connsiteX4" fmla="*/ 2054769 w 2733384"/>
              <a:gd name="connsiteY4" fmla="*/ 2370526 h 2381328"/>
              <a:gd name="connsiteX5" fmla="*/ 687045 w 2733384"/>
              <a:gd name="connsiteY5" fmla="*/ 2381328 h 2381328"/>
              <a:gd name="connsiteX6" fmla="*/ 0 w 2733384"/>
              <a:gd name="connsiteY6" fmla="*/ 1190779 h 2381328"/>
              <a:gd name="connsiteX0" fmla="*/ 0 w 2733384"/>
              <a:gd name="connsiteY0" fmla="*/ 1190779 h 2390987"/>
              <a:gd name="connsiteX1" fmla="*/ 689374 w 2733384"/>
              <a:gd name="connsiteY1" fmla="*/ 0 h 2390987"/>
              <a:gd name="connsiteX2" fmla="*/ 2043288 w 2733384"/>
              <a:gd name="connsiteY2" fmla="*/ 15696 h 2390987"/>
              <a:gd name="connsiteX3" fmla="*/ 2733384 w 2733384"/>
              <a:gd name="connsiteY3" fmla="*/ 1188607 h 2390987"/>
              <a:gd name="connsiteX4" fmla="*/ 2055997 w 2733384"/>
              <a:gd name="connsiteY4" fmla="*/ 2390987 h 2390987"/>
              <a:gd name="connsiteX5" fmla="*/ 687045 w 2733384"/>
              <a:gd name="connsiteY5" fmla="*/ 2381328 h 2390987"/>
              <a:gd name="connsiteX6" fmla="*/ 0 w 2733384"/>
              <a:gd name="connsiteY6" fmla="*/ 1190779 h 2390987"/>
              <a:gd name="connsiteX0" fmla="*/ 0 w 2733384"/>
              <a:gd name="connsiteY0" fmla="*/ 1190779 h 2384725"/>
              <a:gd name="connsiteX1" fmla="*/ 689374 w 2733384"/>
              <a:gd name="connsiteY1" fmla="*/ 0 h 2384725"/>
              <a:gd name="connsiteX2" fmla="*/ 2043288 w 2733384"/>
              <a:gd name="connsiteY2" fmla="*/ 15696 h 2384725"/>
              <a:gd name="connsiteX3" fmla="*/ 2733384 w 2733384"/>
              <a:gd name="connsiteY3" fmla="*/ 1188607 h 2384725"/>
              <a:gd name="connsiteX4" fmla="*/ 2057675 w 2733384"/>
              <a:gd name="connsiteY4" fmla="*/ 2384725 h 2384725"/>
              <a:gd name="connsiteX5" fmla="*/ 687045 w 2733384"/>
              <a:gd name="connsiteY5" fmla="*/ 2381328 h 2384725"/>
              <a:gd name="connsiteX6" fmla="*/ 0 w 2733384"/>
              <a:gd name="connsiteY6" fmla="*/ 1190779 h 2384725"/>
              <a:gd name="connsiteX0" fmla="*/ 0 w 2733384"/>
              <a:gd name="connsiteY0" fmla="*/ 1190779 h 2381594"/>
              <a:gd name="connsiteX1" fmla="*/ 689374 w 2733384"/>
              <a:gd name="connsiteY1" fmla="*/ 0 h 2381594"/>
              <a:gd name="connsiteX2" fmla="*/ 2043288 w 2733384"/>
              <a:gd name="connsiteY2" fmla="*/ 15696 h 2381594"/>
              <a:gd name="connsiteX3" fmla="*/ 2733384 w 2733384"/>
              <a:gd name="connsiteY3" fmla="*/ 1188607 h 2381594"/>
              <a:gd name="connsiteX4" fmla="*/ 2058513 w 2733384"/>
              <a:gd name="connsiteY4" fmla="*/ 2381594 h 2381594"/>
              <a:gd name="connsiteX5" fmla="*/ 687045 w 2733384"/>
              <a:gd name="connsiteY5" fmla="*/ 2381328 h 2381594"/>
              <a:gd name="connsiteX6" fmla="*/ 0 w 2733384"/>
              <a:gd name="connsiteY6" fmla="*/ 1190779 h 2381594"/>
              <a:gd name="connsiteX0" fmla="*/ 0 w 2733384"/>
              <a:gd name="connsiteY0" fmla="*/ 1181080 h 2371895"/>
              <a:gd name="connsiteX1" fmla="*/ 681743 w 2733384"/>
              <a:gd name="connsiteY1" fmla="*/ 0 h 2371895"/>
              <a:gd name="connsiteX2" fmla="*/ 2043288 w 2733384"/>
              <a:gd name="connsiteY2" fmla="*/ 5997 h 2371895"/>
              <a:gd name="connsiteX3" fmla="*/ 2733384 w 2733384"/>
              <a:gd name="connsiteY3" fmla="*/ 1178908 h 2371895"/>
              <a:gd name="connsiteX4" fmla="*/ 2058513 w 2733384"/>
              <a:gd name="connsiteY4" fmla="*/ 2371895 h 2371895"/>
              <a:gd name="connsiteX5" fmla="*/ 687045 w 2733384"/>
              <a:gd name="connsiteY5" fmla="*/ 2371629 h 2371895"/>
              <a:gd name="connsiteX6" fmla="*/ 0 w 2733384"/>
              <a:gd name="connsiteY6" fmla="*/ 1181080 h 2371895"/>
              <a:gd name="connsiteX0" fmla="*/ 0 w 2733384"/>
              <a:gd name="connsiteY0" fmla="*/ 1182227 h 2373042"/>
              <a:gd name="connsiteX1" fmla="*/ 683728 w 2733384"/>
              <a:gd name="connsiteY1" fmla="*/ 0 h 2373042"/>
              <a:gd name="connsiteX2" fmla="*/ 2043288 w 2733384"/>
              <a:gd name="connsiteY2" fmla="*/ 7144 h 2373042"/>
              <a:gd name="connsiteX3" fmla="*/ 2733384 w 2733384"/>
              <a:gd name="connsiteY3" fmla="*/ 1180055 h 2373042"/>
              <a:gd name="connsiteX4" fmla="*/ 2058513 w 2733384"/>
              <a:gd name="connsiteY4" fmla="*/ 2373042 h 2373042"/>
              <a:gd name="connsiteX5" fmla="*/ 687045 w 2733384"/>
              <a:gd name="connsiteY5" fmla="*/ 2372776 h 2373042"/>
              <a:gd name="connsiteX6" fmla="*/ 0 w 2733384"/>
              <a:gd name="connsiteY6" fmla="*/ 1182227 h 2373042"/>
              <a:gd name="connsiteX0" fmla="*/ 0 w 2733384"/>
              <a:gd name="connsiteY0" fmla="*/ 1182227 h 2373042"/>
              <a:gd name="connsiteX1" fmla="*/ 683728 w 2733384"/>
              <a:gd name="connsiteY1" fmla="*/ 0 h 2373042"/>
              <a:gd name="connsiteX2" fmla="*/ 2043288 w 2733384"/>
              <a:gd name="connsiteY2" fmla="*/ 7144 h 2373042"/>
              <a:gd name="connsiteX3" fmla="*/ 2733384 w 2733384"/>
              <a:gd name="connsiteY3" fmla="*/ 1180055 h 2373042"/>
              <a:gd name="connsiteX4" fmla="*/ 2058513 w 2733384"/>
              <a:gd name="connsiteY4" fmla="*/ 2373042 h 2373042"/>
              <a:gd name="connsiteX5" fmla="*/ 687045 w 2733384"/>
              <a:gd name="connsiteY5" fmla="*/ 2372776 h 2373042"/>
              <a:gd name="connsiteX6" fmla="*/ 0 w 2733384"/>
              <a:gd name="connsiteY6" fmla="*/ 1182227 h 2373042"/>
              <a:gd name="connsiteX0" fmla="*/ 0 w 2733384"/>
              <a:gd name="connsiteY0" fmla="*/ 1184518 h 2375333"/>
              <a:gd name="connsiteX1" fmla="*/ 687697 w 2733384"/>
              <a:gd name="connsiteY1" fmla="*/ 0 h 2375333"/>
              <a:gd name="connsiteX2" fmla="*/ 2043288 w 2733384"/>
              <a:gd name="connsiteY2" fmla="*/ 9435 h 2375333"/>
              <a:gd name="connsiteX3" fmla="*/ 2733384 w 2733384"/>
              <a:gd name="connsiteY3" fmla="*/ 1182346 h 2375333"/>
              <a:gd name="connsiteX4" fmla="*/ 2058513 w 2733384"/>
              <a:gd name="connsiteY4" fmla="*/ 2375333 h 2375333"/>
              <a:gd name="connsiteX5" fmla="*/ 687045 w 2733384"/>
              <a:gd name="connsiteY5" fmla="*/ 2375067 h 2375333"/>
              <a:gd name="connsiteX6" fmla="*/ 0 w 2733384"/>
              <a:gd name="connsiteY6" fmla="*/ 1184518 h 2375333"/>
              <a:gd name="connsiteX0" fmla="*/ 0 w 2733384"/>
              <a:gd name="connsiteY0" fmla="*/ 1177950 h 2368765"/>
              <a:gd name="connsiteX1" fmla="*/ 680904 w 2733384"/>
              <a:gd name="connsiteY1" fmla="*/ 0 h 2368765"/>
              <a:gd name="connsiteX2" fmla="*/ 2043288 w 2733384"/>
              <a:gd name="connsiteY2" fmla="*/ 2867 h 2368765"/>
              <a:gd name="connsiteX3" fmla="*/ 2733384 w 2733384"/>
              <a:gd name="connsiteY3" fmla="*/ 1175778 h 2368765"/>
              <a:gd name="connsiteX4" fmla="*/ 2058513 w 2733384"/>
              <a:gd name="connsiteY4" fmla="*/ 2368765 h 2368765"/>
              <a:gd name="connsiteX5" fmla="*/ 687045 w 2733384"/>
              <a:gd name="connsiteY5" fmla="*/ 2368499 h 2368765"/>
              <a:gd name="connsiteX6" fmla="*/ 0 w 2733384"/>
              <a:gd name="connsiteY6" fmla="*/ 1177950 h 2368765"/>
              <a:gd name="connsiteX0" fmla="*/ 0 w 2733384"/>
              <a:gd name="connsiteY0" fmla="*/ 1181388 h 2372203"/>
              <a:gd name="connsiteX1" fmla="*/ 686858 w 2733384"/>
              <a:gd name="connsiteY1" fmla="*/ 0 h 2372203"/>
              <a:gd name="connsiteX2" fmla="*/ 2043288 w 2733384"/>
              <a:gd name="connsiteY2" fmla="*/ 6305 h 2372203"/>
              <a:gd name="connsiteX3" fmla="*/ 2733384 w 2733384"/>
              <a:gd name="connsiteY3" fmla="*/ 1179216 h 2372203"/>
              <a:gd name="connsiteX4" fmla="*/ 2058513 w 2733384"/>
              <a:gd name="connsiteY4" fmla="*/ 2372203 h 2372203"/>
              <a:gd name="connsiteX5" fmla="*/ 687045 w 2733384"/>
              <a:gd name="connsiteY5" fmla="*/ 2371937 h 2372203"/>
              <a:gd name="connsiteX6" fmla="*/ 0 w 2733384"/>
              <a:gd name="connsiteY6" fmla="*/ 1181388 h 2372203"/>
              <a:gd name="connsiteX0" fmla="*/ 0 w 2733384"/>
              <a:gd name="connsiteY0" fmla="*/ 1183022 h 2373837"/>
              <a:gd name="connsiteX1" fmla="*/ 686858 w 2733384"/>
              <a:gd name="connsiteY1" fmla="*/ 1634 h 2373837"/>
              <a:gd name="connsiteX2" fmla="*/ 2038705 w 2733384"/>
              <a:gd name="connsiteY2" fmla="*/ 0 h 2373837"/>
              <a:gd name="connsiteX3" fmla="*/ 2733384 w 2733384"/>
              <a:gd name="connsiteY3" fmla="*/ 1180850 h 2373837"/>
              <a:gd name="connsiteX4" fmla="*/ 2058513 w 2733384"/>
              <a:gd name="connsiteY4" fmla="*/ 2373837 h 2373837"/>
              <a:gd name="connsiteX5" fmla="*/ 687045 w 2733384"/>
              <a:gd name="connsiteY5" fmla="*/ 2373571 h 2373837"/>
              <a:gd name="connsiteX6" fmla="*/ 0 w 2733384"/>
              <a:gd name="connsiteY6" fmla="*/ 1183022 h 2373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3384" h="2373837">
                <a:moveTo>
                  <a:pt x="0" y="1183022"/>
                </a:moveTo>
                <a:lnTo>
                  <a:pt x="686858" y="1634"/>
                </a:lnTo>
                <a:lnTo>
                  <a:pt x="2038705" y="0"/>
                </a:lnTo>
                <a:lnTo>
                  <a:pt x="2733384" y="1180850"/>
                </a:lnTo>
                <a:lnTo>
                  <a:pt x="2058513" y="2373837"/>
                </a:lnTo>
                <a:lnTo>
                  <a:pt x="687045" y="2373571"/>
                </a:lnTo>
                <a:lnTo>
                  <a:pt x="0" y="1183022"/>
                </a:lnTo>
                <a:close/>
              </a:path>
            </a:pathLst>
          </a:custGeom>
          <a:noFill/>
          <a:ln w="168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4CAFE99-CA6F-4F9B-ACA8-DF0B845BA336}"/>
              </a:ext>
            </a:extLst>
          </p:cNvPr>
          <p:cNvGrpSpPr/>
          <p:nvPr/>
        </p:nvGrpSpPr>
        <p:grpSpPr>
          <a:xfrm>
            <a:off x="5586069" y="3861903"/>
            <a:ext cx="1181417" cy="1114886"/>
            <a:chOff x="3094823" y="4030487"/>
            <a:chExt cx="2744314" cy="2589768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25CC75C-3A5F-4927-A329-5738BF2EE59A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5CA6CC5-F9E0-4F68-B877-A12CC12F563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471B7C-7F0D-448D-9F59-A6847B56E3AD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9387E2F-077C-4B98-97BB-5FA13F0526CD}"/>
              </a:ext>
            </a:extLst>
          </p:cNvPr>
          <p:cNvGrpSpPr/>
          <p:nvPr/>
        </p:nvGrpSpPr>
        <p:grpSpPr>
          <a:xfrm>
            <a:off x="157893" y="703689"/>
            <a:ext cx="2328595" cy="5563049"/>
            <a:chOff x="-173269" y="890805"/>
            <a:chExt cx="4523821" cy="549536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A25419-9613-4D6D-B201-A7601453CF05}"/>
                </a:ext>
              </a:extLst>
            </p:cNvPr>
            <p:cNvSpPr/>
            <p:nvPr/>
          </p:nvSpPr>
          <p:spPr>
            <a:xfrm>
              <a:off x="-173269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855CBFC-D0D7-450E-B324-36DAE9C94A5B}"/>
                </a:ext>
              </a:extLst>
            </p:cNvPr>
            <p:cNvSpPr txBox="1"/>
            <p:nvPr/>
          </p:nvSpPr>
          <p:spPr>
            <a:xfrm>
              <a:off x="907678" y="890805"/>
              <a:ext cx="2361926" cy="346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5556A0C-6168-43E7-8FDE-794808F4B9A1}"/>
              </a:ext>
            </a:extLst>
          </p:cNvPr>
          <p:cNvGrpSpPr/>
          <p:nvPr/>
        </p:nvGrpSpPr>
        <p:grpSpPr>
          <a:xfrm>
            <a:off x="5094847" y="5364565"/>
            <a:ext cx="1181417" cy="1114886"/>
            <a:chOff x="3094823" y="4030487"/>
            <a:chExt cx="2744314" cy="2589768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896BE30-1263-4714-95E4-E9FBBA3D2BC4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0718C67-CD77-4A29-A5A2-36EC083428DC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7024CE-D118-4519-9071-1141616FD34F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0090C00-1560-4489-A083-613104D3AFC7}"/>
              </a:ext>
            </a:extLst>
          </p:cNvPr>
          <p:cNvGrpSpPr/>
          <p:nvPr/>
        </p:nvGrpSpPr>
        <p:grpSpPr>
          <a:xfrm>
            <a:off x="6478827" y="4875292"/>
            <a:ext cx="1181417" cy="1114886"/>
            <a:chOff x="3094823" y="4030487"/>
            <a:chExt cx="2744314" cy="258976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63CFF34-E876-460A-B4B6-8CAFAC9F38E9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2981C27-31F2-475B-9682-84B08CCD0DCF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9455C09-1414-41F6-AA14-725A58CA56A4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718A0E6-091A-45D0-BF4D-A04D6EBE660B}"/>
              </a:ext>
            </a:extLst>
          </p:cNvPr>
          <p:cNvSpPr/>
          <p:nvPr/>
        </p:nvSpPr>
        <p:spPr>
          <a:xfrm>
            <a:off x="1014887" y="4236651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89C73876-169E-4460-AC3E-FE4A8016E804}"/>
              </a:ext>
            </a:extLst>
          </p:cNvPr>
          <p:cNvSpPr/>
          <p:nvPr/>
        </p:nvSpPr>
        <p:spPr>
          <a:xfrm>
            <a:off x="1014887" y="5401629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3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A99AD951-3AB2-40CC-B2AC-2E94FDBC70FB}"/>
              </a:ext>
            </a:extLst>
          </p:cNvPr>
          <p:cNvSpPr/>
          <p:nvPr/>
        </p:nvSpPr>
        <p:spPr>
          <a:xfrm>
            <a:off x="1014887" y="4842746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6667FA-4477-4853-8B6E-73AE67495E70}"/>
              </a:ext>
            </a:extLst>
          </p:cNvPr>
          <p:cNvSpPr txBox="1"/>
          <p:nvPr/>
        </p:nvSpPr>
        <p:spPr>
          <a:xfrm>
            <a:off x="5904578" y="3926927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05A7C73-B627-463B-AB04-71C5A4904E82}"/>
              </a:ext>
            </a:extLst>
          </p:cNvPr>
          <p:cNvSpPr txBox="1"/>
          <p:nvPr/>
        </p:nvSpPr>
        <p:spPr>
          <a:xfrm>
            <a:off x="5410646" y="542586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C3DC733-B9EA-4BDE-9056-F5B4C1E0B4B0}"/>
              </a:ext>
            </a:extLst>
          </p:cNvPr>
          <p:cNvSpPr txBox="1"/>
          <p:nvPr/>
        </p:nvSpPr>
        <p:spPr>
          <a:xfrm>
            <a:off x="6813399" y="491468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E3038FB-7E39-44B7-B646-36FA93E4A4E6}"/>
              </a:ext>
            </a:extLst>
          </p:cNvPr>
          <p:cNvSpPr/>
          <p:nvPr/>
        </p:nvSpPr>
        <p:spPr>
          <a:xfrm>
            <a:off x="615313" y="3878655"/>
            <a:ext cx="1251332" cy="2275656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003A512-C78D-4585-98DA-9F23A18CA65F}"/>
              </a:ext>
            </a:extLst>
          </p:cNvPr>
          <p:cNvSpPr/>
          <p:nvPr/>
        </p:nvSpPr>
        <p:spPr>
          <a:xfrm>
            <a:off x="4940913" y="2643475"/>
            <a:ext cx="2625292" cy="3871806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143EA5-7747-4086-A255-4690C88D5144}"/>
              </a:ext>
            </a:extLst>
          </p:cNvPr>
          <p:cNvGrpSpPr/>
          <p:nvPr/>
        </p:nvGrpSpPr>
        <p:grpSpPr>
          <a:xfrm>
            <a:off x="5996559" y="1637397"/>
            <a:ext cx="1181417" cy="1114886"/>
            <a:chOff x="3094823" y="4030487"/>
            <a:chExt cx="2744314" cy="258976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B3DD72-FB28-4FD7-A83A-3995E319FBAD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6BDEE1D-40B3-4872-AD0D-B7FFD6580AA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8D32885-E7F9-4212-A642-E4168539E3F3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B304619-852E-41A9-9A3A-9E7C9A8EB376}"/>
              </a:ext>
            </a:extLst>
          </p:cNvPr>
          <p:cNvSpPr txBox="1"/>
          <p:nvPr/>
        </p:nvSpPr>
        <p:spPr>
          <a:xfrm>
            <a:off x="6315068" y="1680573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BA642D6C-6692-43A3-BD5B-43994681C532}"/>
              </a:ext>
            </a:extLst>
          </p:cNvPr>
          <p:cNvSpPr/>
          <p:nvPr/>
        </p:nvSpPr>
        <p:spPr>
          <a:xfrm>
            <a:off x="1014887" y="3002991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0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2471A43-F428-400B-8197-B93AE1946D45}"/>
              </a:ext>
            </a:extLst>
          </p:cNvPr>
          <p:cNvSpPr/>
          <p:nvPr/>
        </p:nvSpPr>
        <p:spPr>
          <a:xfrm>
            <a:off x="615313" y="2646654"/>
            <a:ext cx="1251332" cy="841279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12D1AD1-9BAC-4B66-9C82-CC442857AB8B}"/>
              </a:ext>
            </a:extLst>
          </p:cNvPr>
          <p:cNvCxnSpPr>
            <a:cxnSpLocks/>
            <a:endCxn id="81" idx="2"/>
          </p:cNvCxnSpPr>
          <p:nvPr/>
        </p:nvCxnSpPr>
        <p:spPr>
          <a:xfrm flipV="1">
            <a:off x="1240979" y="3309458"/>
            <a:ext cx="1" cy="569198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76CCF50B-A464-4106-8902-07B312AC5676}"/>
              </a:ext>
            </a:extLst>
          </p:cNvPr>
          <p:cNvCxnSpPr>
            <a:cxnSpLocks/>
            <a:stCxn id="81" idx="3"/>
          </p:cNvCxnSpPr>
          <p:nvPr/>
        </p:nvCxnSpPr>
        <p:spPr>
          <a:xfrm flipV="1">
            <a:off x="1467072" y="1969241"/>
            <a:ext cx="4893002" cy="1186984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58B49698-5B3B-4FC8-81BE-98E6B5D8B071}"/>
              </a:ext>
            </a:extLst>
          </p:cNvPr>
          <p:cNvSpPr txBox="1"/>
          <p:nvPr/>
        </p:nvSpPr>
        <p:spPr>
          <a:xfrm rot="20817879">
            <a:off x="3244607" y="2325412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FB1A358-B008-4186-A737-9CF18E0A33DA}"/>
              </a:ext>
            </a:extLst>
          </p:cNvPr>
          <p:cNvCxnSpPr>
            <a:cxnSpLocks/>
            <a:stCxn id="45" idx="3"/>
          </p:cNvCxnSpPr>
          <p:nvPr/>
        </p:nvCxnSpPr>
        <p:spPr>
          <a:xfrm flipV="1">
            <a:off x="1467072" y="4109757"/>
            <a:ext cx="4390300" cy="280128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F87E36A6-513F-4965-AE8D-1518AD461EFD}"/>
              </a:ext>
            </a:extLst>
          </p:cNvPr>
          <p:cNvSpPr txBox="1"/>
          <p:nvPr/>
        </p:nvSpPr>
        <p:spPr>
          <a:xfrm rot="21354428">
            <a:off x="3302685" y="3954263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9352CF49-808F-4429-B601-12B1B74EBAD2}"/>
              </a:ext>
            </a:extLst>
          </p:cNvPr>
          <p:cNvCxnSpPr>
            <a:cxnSpLocks/>
            <a:stCxn id="56" idx="3"/>
          </p:cNvCxnSpPr>
          <p:nvPr/>
        </p:nvCxnSpPr>
        <p:spPr>
          <a:xfrm>
            <a:off x="1467072" y="4995980"/>
            <a:ext cx="5367815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AEE8529C-0786-468C-B144-13C8EFF1EA67}"/>
              </a:ext>
            </a:extLst>
          </p:cNvPr>
          <p:cNvSpPr txBox="1"/>
          <p:nvPr/>
        </p:nvSpPr>
        <p:spPr>
          <a:xfrm>
            <a:off x="3341754" y="4663490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C0A73A07-079C-4126-AC86-565092DEBF80}"/>
              </a:ext>
            </a:extLst>
          </p:cNvPr>
          <p:cNvCxnSpPr>
            <a:cxnSpLocks/>
            <a:stCxn id="52" idx="3"/>
          </p:cNvCxnSpPr>
          <p:nvPr/>
        </p:nvCxnSpPr>
        <p:spPr>
          <a:xfrm>
            <a:off x="1467072" y="5554863"/>
            <a:ext cx="3987526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324F2B03-97AC-48D2-9037-2D6D458DC295}"/>
              </a:ext>
            </a:extLst>
          </p:cNvPr>
          <p:cNvSpPr txBox="1"/>
          <p:nvPr/>
        </p:nvSpPr>
        <p:spPr>
          <a:xfrm>
            <a:off x="3341754" y="5232351"/>
            <a:ext cx="883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A8FE7D0E-098E-4A37-8B90-BEC7F332989B}"/>
              </a:ext>
            </a:extLst>
          </p:cNvPr>
          <p:cNvCxnSpPr>
            <a:cxnSpLocks/>
            <a:endCxn id="63" idx="2"/>
          </p:cNvCxnSpPr>
          <p:nvPr/>
        </p:nvCxnSpPr>
        <p:spPr>
          <a:xfrm flipV="1">
            <a:off x="1860377" y="2049905"/>
            <a:ext cx="4613351" cy="197312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A710CE31-DA93-4DA0-8C58-89C9BEDDEF25}"/>
              </a:ext>
            </a:extLst>
          </p:cNvPr>
          <p:cNvSpPr txBox="1"/>
          <p:nvPr/>
        </p:nvSpPr>
        <p:spPr>
          <a:xfrm rot="20211248">
            <a:off x="2172818" y="3005300"/>
            <a:ext cx="2627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collectively models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06C70BF-2934-4A5D-BC67-67D6670B1331}"/>
              </a:ext>
            </a:extLst>
          </p:cNvPr>
          <p:cNvGrpSpPr/>
          <p:nvPr/>
        </p:nvGrpSpPr>
        <p:grpSpPr>
          <a:xfrm>
            <a:off x="4775712" y="703689"/>
            <a:ext cx="4124182" cy="5887941"/>
            <a:chOff x="7421438" y="796949"/>
            <a:chExt cx="3328289" cy="5495363"/>
          </a:xfrm>
        </p:grpSpPr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3C616B9D-0DC6-4030-AD04-223BD4E2DFE0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260EB63-4184-4710-A500-AE10E451D1A0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AE5EAB7C-B857-4EB4-A0C5-6AA9F78C845B}"/>
              </a:ext>
            </a:extLst>
          </p:cNvPr>
          <p:cNvSpPr txBox="1"/>
          <p:nvPr/>
        </p:nvSpPr>
        <p:spPr>
          <a:xfrm>
            <a:off x="1197344" y="351807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BC1E25F-6E57-485C-A15F-F3278640074B}"/>
              </a:ext>
            </a:extLst>
          </p:cNvPr>
          <p:cNvCxnSpPr>
            <a:cxnSpLocks/>
            <a:stCxn id="84" idx="0"/>
            <a:endCxn id="73" idx="2"/>
          </p:cNvCxnSpPr>
          <p:nvPr/>
        </p:nvCxnSpPr>
        <p:spPr>
          <a:xfrm flipV="1">
            <a:off x="1240979" y="2241004"/>
            <a:ext cx="1" cy="40565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Speech Bubble: Rectangle with Corners Rounded 53">
            <a:extLst>
              <a:ext uri="{FF2B5EF4-FFF2-40B4-BE49-F238E27FC236}">
                <a16:creationId xmlns:a16="http://schemas.microsoft.com/office/drawing/2014/main" id="{49AC01F1-039F-4E94-BDA2-7D7D14BAC5C2}"/>
              </a:ext>
            </a:extLst>
          </p:cNvPr>
          <p:cNvSpPr/>
          <p:nvPr/>
        </p:nvSpPr>
        <p:spPr>
          <a:xfrm>
            <a:off x="6607216" y="1032588"/>
            <a:ext cx="991999" cy="485383"/>
          </a:xfrm>
          <a:prstGeom prst="wedgeRoundRectCallout">
            <a:avLst>
              <a:gd name="adj1" fmla="val -62583"/>
              <a:gd name="adj2" fmla="val 55778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“Whole” Object </a:t>
            </a:r>
          </a:p>
        </p:txBody>
      </p:sp>
      <p:sp>
        <p:nvSpPr>
          <p:cNvPr id="55" name="Speech Bubble: Rectangle with Corners Rounded 54">
            <a:extLst>
              <a:ext uri="{FF2B5EF4-FFF2-40B4-BE49-F238E27FC236}">
                <a16:creationId xmlns:a16="http://schemas.microsoft.com/office/drawing/2014/main" id="{076BA410-B232-42E4-9242-0E4B4F4B03E6}"/>
              </a:ext>
            </a:extLst>
          </p:cNvPr>
          <p:cNvSpPr/>
          <p:nvPr/>
        </p:nvSpPr>
        <p:spPr>
          <a:xfrm>
            <a:off x="7648965" y="2999631"/>
            <a:ext cx="1108305" cy="761847"/>
          </a:xfrm>
          <a:prstGeom prst="wedgeRoundRectCallout">
            <a:avLst>
              <a:gd name="adj1" fmla="val -57874"/>
              <a:gd name="adj2" fmla="val 79531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“Parts” of the “Whole” Object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2B1AD996-C4E0-475A-A099-BA91459D9912}"/>
              </a:ext>
            </a:extLst>
          </p:cNvPr>
          <p:cNvSpPr/>
          <p:nvPr/>
        </p:nvSpPr>
        <p:spPr>
          <a:xfrm>
            <a:off x="383120" y="1014452"/>
            <a:ext cx="1726954" cy="139583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F68A7049-2325-4A02-A61B-BFE196052CCA}"/>
              </a:ext>
            </a:extLst>
          </p:cNvPr>
          <p:cNvSpPr/>
          <p:nvPr/>
        </p:nvSpPr>
        <p:spPr>
          <a:xfrm>
            <a:off x="569238" y="1934537"/>
            <a:ext cx="1343483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PhysicalPartition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DEFECFC1-660C-484C-A76F-72A39E0AB0AC}"/>
              </a:ext>
            </a:extLst>
          </p:cNvPr>
          <p:cNvSpPr/>
          <p:nvPr/>
        </p:nvSpPr>
        <p:spPr>
          <a:xfrm>
            <a:off x="879504" y="1362477"/>
            <a:ext cx="722950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Subject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342435D-0906-4673-BDCA-83AF7DFC5103}"/>
              </a:ext>
            </a:extLst>
          </p:cNvPr>
          <p:cNvCxnSpPr>
            <a:cxnSpLocks/>
          </p:cNvCxnSpPr>
          <p:nvPr/>
        </p:nvCxnSpPr>
        <p:spPr>
          <a:xfrm>
            <a:off x="1240979" y="1668944"/>
            <a:ext cx="1" cy="265593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6B5C7700-7495-48FA-AE01-553BD96D1CA4}"/>
              </a:ext>
            </a:extLst>
          </p:cNvPr>
          <p:cNvSpPr txBox="1"/>
          <p:nvPr/>
        </p:nvSpPr>
        <p:spPr>
          <a:xfrm>
            <a:off x="383120" y="993623"/>
            <a:ext cx="1738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>
                    <a:lumMod val="50000"/>
                  </a:schemeClr>
                </a:solidFill>
              </a:rPr>
              <a:t>RepositoryModel</a:t>
            </a:r>
            <a:endParaRPr lang="en-US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8521AEBD-3F25-404B-998B-7AAF37C31952}"/>
              </a:ext>
            </a:extLst>
          </p:cNvPr>
          <p:cNvSpPr txBox="1"/>
          <p:nvPr/>
        </p:nvSpPr>
        <p:spPr>
          <a:xfrm>
            <a:off x="371885" y="2638464"/>
            <a:ext cx="1738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38ADB"/>
                </a:solidFill>
              </a:rPr>
              <a:t>Top-Model</a:t>
            </a:r>
            <a:endParaRPr lang="en-US" sz="1600" dirty="0">
              <a:solidFill>
                <a:srgbClr val="038ADB"/>
              </a:solidFill>
            </a:endParaRP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AB837CF9-864F-445F-B107-08540DA84671}"/>
              </a:ext>
            </a:extLst>
          </p:cNvPr>
          <p:cNvCxnSpPr>
            <a:cxnSpLocks/>
            <a:stCxn id="74" idx="3"/>
            <a:endCxn id="54" idx="4"/>
          </p:cNvCxnSpPr>
          <p:nvPr/>
        </p:nvCxnSpPr>
        <p:spPr>
          <a:xfrm>
            <a:off x="1602454" y="1515711"/>
            <a:ext cx="4879939" cy="30305"/>
          </a:xfrm>
          <a:prstGeom prst="straightConnector1">
            <a:avLst/>
          </a:prstGeom>
          <a:ln w="38100">
            <a:solidFill>
              <a:srgbClr val="A6AFB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C6168E25-DABE-4F93-AAB4-EDD6267D374B}"/>
              </a:ext>
            </a:extLst>
          </p:cNvPr>
          <p:cNvSpPr txBox="1"/>
          <p:nvPr/>
        </p:nvSpPr>
        <p:spPr>
          <a:xfrm>
            <a:off x="2391655" y="1229544"/>
            <a:ext cx="27258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entions real-world Object</a:t>
            </a:r>
          </a:p>
        </p:txBody>
      </p: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EE992782-B17F-4770-9C4D-71ABE099E8FC}"/>
              </a:ext>
            </a:extLst>
          </p:cNvPr>
          <p:cNvCxnSpPr>
            <a:cxnSpLocks/>
            <a:stCxn id="73" idx="3"/>
          </p:cNvCxnSpPr>
          <p:nvPr/>
        </p:nvCxnSpPr>
        <p:spPr>
          <a:xfrm flipV="1">
            <a:off x="1912721" y="1852654"/>
            <a:ext cx="4337008" cy="235117"/>
          </a:xfrm>
          <a:prstGeom prst="straightConnector1">
            <a:avLst/>
          </a:prstGeom>
          <a:ln w="38100">
            <a:solidFill>
              <a:srgbClr val="A6AFB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739DE1F8-CFE8-4D13-BFBA-495B8F2AB32C}"/>
              </a:ext>
            </a:extLst>
          </p:cNvPr>
          <p:cNvSpPr txBox="1"/>
          <p:nvPr/>
        </p:nvSpPr>
        <p:spPr>
          <a:xfrm rot="21426358">
            <a:off x="1719212" y="1708214"/>
            <a:ext cx="41322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stablishes the perspective-Entity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B063C67-49A9-4F88-92A8-E65DA0C423D0}"/>
              </a:ext>
            </a:extLst>
          </p:cNvPr>
          <p:cNvSpPr txBox="1"/>
          <p:nvPr/>
        </p:nvSpPr>
        <p:spPr>
          <a:xfrm rot="20211248">
            <a:off x="2325218" y="3221308"/>
            <a:ext cx="2627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(at finer granularity)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AEE2F07-8F7C-46BC-B5E8-00814C167531}"/>
              </a:ext>
            </a:extLst>
          </p:cNvPr>
          <p:cNvSpPr txBox="1"/>
          <p:nvPr/>
        </p:nvSpPr>
        <p:spPr>
          <a:xfrm>
            <a:off x="371885" y="3893391"/>
            <a:ext cx="1738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38ADB"/>
                </a:solidFill>
              </a:rPr>
              <a:t>Model</a:t>
            </a:r>
            <a:endParaRPr lang="en-US" sz="1600" dirty="0">
              <a:solidFill>
                <a:srgbClr val="038ADB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A192F71-F221-494D-A1CC-26FF1E37137E}"/>
              </a:ext>
            </a:extLst>
          </p:cNvPr>
          <p:cNvSpPr txBox="1"/>
          <p:nvPr/>
        </p:nvSpPr>
        <p:spPr>
          <a:xfrm>
            <a:off x="1197344" y="236485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sp>
        <p:nvSpPr>
          <p:cNvPr id="99" name="Hexagon 1">
            <a:extLst>
              <a:ext uri="{FF2B5EF4-FFF2-40B4-BE49-F238E27FC236}">
                <a16:creationId xmlns:a16="http://schemas.microsoft.com/office/drawing/2014/main" id="{1B1B4163-4FCC-4BB8-B633-C72C51D0B68C}"/>
              </a:ext>
            </a:extLst>
          </p:cNvPr>
          <p:cNvSpPr/>
          <p:nvPr/>
        </p:nvSpPr>
        <p:spPr>
          <a:xfrm rot="1800000">
            <a:off x="7664889" y="1685043"/>
            <a:ext cx="1123561" cy="975769"/>
          </a:xfrm>
          <a:custGeom>
            <a:avLst/>
            <a:gdLst>
              <a:gd name="connsiteX0" fmla="*/ 0 w 2628787"/>
              <a:gd name="connsiteY0" fmla="*/ 1133098 h 2266196"/>
              <a:gd name="connsiteX1" fmla="*/ 566549 w 2628787"/>
              <a:gd name="connsiteY1" fmla="*/ 1 h 2266196"/>
              <a:gd name="connsiteX2" fmla="*/ 2062238 w 2628787"/>
              <a:gd name="connsiteY2" fmla="*/ 1 h 2266196"/>
              <a:gd name="connsiteX3" fmla="*/ 2628787 w 2628787"/>
              <a:gd name="connsiteY3" fmla="*/ 1133098 h 2266196"/>
              <a:gd name="connsiteX4" fmla="*/ 2062238 w 2628787"/>
              <a:gd name="connsiteY4" fmla="*/ 2266195 h 2266196"/>
              <a:gd name="connsiteX5" fmla="*/ 566549 w 2628787"/>
              <a:gd name="connsiteY5" fmla="*/ 2266195 h 2266196"/>
              <a:gd name="connsiteX6" fmla="*/ 0 w 2628787"/>
              <a:gd name="connsiteY6" fmla="*/ 1133098 h 2266196"/>
              <a:gd name="connsiteX0" fmla="*/ 0 w 2692686"/>
              <a:gd name="connsiteY0" fmla="*/ 1146173 h 2266194"/>
              <a:gd name="connsiteX1" fmla="*/ 630448 w 2692686"/>
              <a:gd name="connsiteY1" fmla="*/ 0 h 2266194"/>
              <a:gd name="connsiteX2" fmla="*/ 2126137 w 2692686"/>
              <a:gd name="connsiteY2" fmla="*/ 0 h 2266194"/>
              <a:gd name="connsiteX3" fmla="*/ 2692686 w 2692686"/>
              <a:gd name="connsiteY3" fmla="*/ 1133097 h 2266194"/>
              <a:gd name="connsiteX4" fmla="*/ 2126137 w 2692686"/>
              <a:gd name="connsiteY4" fmla="*/ 2266194 h 2266194"/>
              <a:gd name="connsiteX5" fmla="*/ 630448 w 2692686"/>
              <a:gd name="connsiteY5" fmla="*/ 2266194 h 2266194"/>
              <a:gd name="connsiteX6" fmla="*/ 0 w 2692686"/>
              <a:gd name="connsiteY6" fmla="*/ 1146173 h 2266194"/>
              <a:gd name="connsiteX0" fmla="*/ 0 w 2692686"/>
              <a:gd name="connsiteY0" fmla="*/ 1184824 h 2304845"/>
              <a:gd name="connsiteX1" fmla="*/ 692812 w 2692686"/>
              <a:gd name="connsiteY1" fmla="*/ 0 h 2304845"/>
              <a:gd name="connsiteX2" fmla="*/ 2126137 w 2692686"/>
              <a:gd name="connsiteY2" fmla="*/ 38651 h 2304845"/>
              <a:gd name="connsiteX3" fmla="*/ 2692686 w 2692686"/>
              <a:gd name="connsiteY3" fmla="*/ 1171748 h 2304845"/>
              <a:gd name="connsiteX4" fmla="*/ 2126137 w 2692686"/>
              <a:gd name="connsiteY4" fmla="*/ 2304845 h 2304845"/>
              <a:gd name="connsiteX5" fmla="*/ 630448 w 2692686"/>
              <a:gd name="connsiteY5" fmla="*/ 2304845 h 2304845"/>
              <a:gd name="connsiteX6" fmla="*/ 0 w 2692686"/>
              <a:gd name="connsiteY6" fmla="*/ 1184824 h 2304845"/>
              <a:gd name="connsiteX0" fmla="*/ 0 w 2692686"/>
              <a:gd name="connsiteY0" fmla="*/ 1184824 h 2304845"/>
              <a:gd name="connsiteX1" fmla="*/ 692812 w 2692686"/>
              <a:gd name="connsiteY1" fmla="*/ 0 h 2304845"/>
              <a:gd name="connsiteX2" fmla="*/ 2046726 w 2692686"/>
              <a:gd name="connsiteY2" fmla="*/ 15696 h 2304845"/>
              <a:gd name="connsiteX3" fmla="*/ 2692686 w 2692686"/>
              <a:gd name="connsiteY3" fmla="*/ 1171748 h 2304845"/>
              <a:gd name="connsiteX4" fmla="*/ 2126137 w 2692686"/>
              <a:gd name="connsiteY4" fmla="*/ 2304845 h 2304845"/>
              <a:gd name="connsiteX5" fmla="*/ 630448 w 2692686"/>
              <a:gd name="connsiteY5" fmla="*/ 2304845 h 2304845"/>
              <a:gd name="connsiteX6" fmla="*/ 0 w 2692686"/>
              <a:gd name="connsiteY6" fmla="*/ 1184824 h 2304845"/>
              <a:gd name="connsiteX0" fmla="*/ 0 w 2736822"/>
              <a:gd name="connsiteY0" fmla="*/ 1184824 h 2304845"/>
              <a:gd name="connsiteX1" fmla="*/ 692812 w 2736822"/>
              <a:gd name="connsiteY1" fmla="*/ 0 h 2304845"/>
              <a:gd name="connsiteX2" fmla="*/ 2046726 w 2736822"/>
              <a:gd name="connsiteY2" fmla="*/ 15696 h 2304845"/>
              <a:gd name="connsiteX3" fmla="*/ 2736822 w 2736822"/>
              <a:gd name="connsiteY3" fmla="*/ 1188607 h 2304845"/>
              <a:gd name="connsiteX4" fmla="*/ 2126137 w 2736822"/>
              <a:gd name="connsiteY4" fmla="*/ 2304845 h 2304845"/>
              <a:gd name="connsiteX5" fmla="*/ 630448 w 2736822"/>
              <a:gd name="connsiteY5" fmla="*/ 2304845 h 2304845"/>
              <a:gd name="connsiteX6" fmla="*/ 0 w 2736822"/>
              <a:gd name="connsiteY6" fmla="*/ 1184824 h 2304845"/>
              <a:gd name="connsiteX0" fmla="*/ 0 w 2736822"/>
              <a:gd name="connsiteY0" fmla="*/ 1184824 h 2385603"/>
              <a:gd name="connsiteX1" fmla="*/ 692812 w 2736822"/>
              <a:gd name="connsiteY1" fmla="*/ 0 h 2385603"/>
              <a:gd name="connsiteX2" fmla="*/ 2046726 w 2736822"/>
              <a:gd name="connsiteY2" fmla="*/ 15696 h 2385603"/>
              <a:gd name="connsiteX3" fmla="*/ 2736822 w 2736822"/>
              <a:gd name="connsiteY3" fmla="*/ 1188607 h 2385603"/>
              <a:gd name="connsiteX4" fmla="*/ 2126137 w 2736822"/>
              <a:gd name="connsiteY4" fmla="*/ 2304845 h 2385603"/>
              <a:gd name="connsiteX5" fmla="*/ 687659 w 2736822"/>
              <a:gd name="connsiteY5" fmla="*/ 2385603 h 2385603"/>
              <a:gd name="connsiteX6" fmla="*/ 0 w 2736822"/>
              <a:gd name="connsiteY6" fmla="*/ 1184824 h 2385603"/>
              <a:gd name="connsiteX0" fmla="*/ 0 w 2736822"/>
              <a:gd name="connsiteY0" fmla="*/ 1184824 h 2385603"/>
              <a:gd name="connsiteX1" fmla="*/ 692812 w 2736822"/>
              <a:gd name="connsiteY1" fmla="*/ 0 h 2385603"/>
              <a:gd name="connsiteX2" fmla="*/ 2046726 w 2736822"/>
              <a:gd name="connsiteY2" fmla="*/ 15696 h 2385603"/>
              <a:gd name="connsiteX3" fmla="*/ 2736822 w 2736822"/>
              <a:gd name="connsiteY3" fmla="*/ 1188607 h 2385603"/>
              <a:gd name="connsiteX4" fmla="*/ 2058207 w 2736822"/>
              <a:gd name="connsiteY4" fmla="*/ 2370526 h 2385603"/>
              <a:gd name="connsiteX5" fmla="*/ 687659 w 2736822"/>
              <a:gd name="connsiteY5" fmla="*/ 2385603 h 2385603"/>
              <a:gd name="connsiteX6" fmla="*/ 0 w 2736822"/>
              <a:gd name="connsiteY6" fmla="*/ 1184824 h 2385603"/>
              <a:gd name="connsiteX0" fmla="*/ 0 w 2733384"/>
              <a:gd name="connsiteY0" fmla="*/ 1190779 h 2385603"/>
              <a:gd name="connsiteX1" fmla="*/ 689374 w 2733384"/>
              <a:gd name="connsiteY1" fmla="*/ 0 h 2385603"/>
              <a:gd name="connsiteX2" fmla="*/ 2043288 w 2733384"/>
              <a:gd name="connsiteY2" fmla="*/ 15696 h 2385603"/>
              <a:gd name="connsiteX3" fmla="*/ 2733384 w 2733384"/>
              <a:gd name="connsiteY3" fmla="*/ 1188607 h 2385603"/>
              <a:gd name="connsiteX4" fmla="*/ 2054769 w 2733384"/>
              <a:gd name="connsiteY4" fmla="*/ 2370526 h 2385603"/>
              <a:gd name="connsiteX5" fmla="*/ 684221 w 2733384"/>
              <a:gd name="connsiteY5" fmla="*/ 2385603 h 2385603"/>
              <a:gd name="connsiteX6" fmla="*/ 0 w 2733384"/>
              <a:gd name="connsiteY6" fmla="*/ 1190779 h 2385603"/>
              <a:gd name="connsiteX0" fmla="*/ 0 w 2733384"/>
              <a:gd name="connsiteY0" fmla="*/ 1190779 h 2379650"/>
              <a:gd name="connsiteX1" fmla="*/ 689374 w 2733384"/>
              <a:gd name="connsiteY1" fmla="*/ 0 h 2379650"/>
              <a:gd name="connsiteX2" fmla="*/ 2043288 w 2733384"/>
              <a:gd name="connsiteY2" fmla="*/ 15696 h 2379650"/>
              <a:gd name="connsiteX3" fmla="*/ 2733384 w 2733384"/>
              <a:gd name="connsiteY3" fmla="*/ 1188607 h 2379650"/>
              <a:gd name="connsiteX4" fmla="*/ 2054769 w 2733384"/>
              <a:gd name="connsiteY4" fmla="*/ 2370526 h 2379650"/>
              <a:gd name="connsiteX5" fmla="*/ 680784 w 2733384"/>
              <a:gd name="connsiteY5" fmla="*/ 2379650 h 2379650"/>
              <a:gd name="connsiteX6" fmla="*/ 0 w 2733384"/>
              <a:gd name="connsiteY6" fmla="*/ 1190779 h 2379650"/>
              <a:gd name="connsiteX0" fmla="*/ 0 w 2733384"/>
              <a:gd name="connsiteY0" fmla="*/ 1190779 h 2381328"/>
              <a:gd name="connsiteX1" fmla="*/ 689374 w 2733384"/>
              <a:gd name="connsiteY1" fmla="*/ 0 h 2381328"/>
              <a:gd name="connsiteX2" fmla="*/ 2043288 w 2733384"/>
              <a:gd name="connsiteY2" fmla="*/ 15696 h 2381328"/>
              <a:gd name="connsiteX3" fmla="*/ 2733384 w 2733384"/>
              <a:gd name="connsiteY3" fmla="*/ 1188607 h 2381328"/>
              <a:gd name="connsiteX4" fmla="*/ 2054769 w 2733384"/>
              <a:gd name="connsiteY4" fmla="*/ 2370526 h 2381328"/>
              <a:gd name="connsiteX5" fmla="*/ 687045 w 2733384"/>
              <a:gd name="connsiteY5" fmla="*/ 2381328 h 2381328"/>
              <a:gd name="connsiteX6" fmla="*/ 0 w 2733384"/>
              <a:gd name="connsiteY6" fmla="*/ 1190779 h 2381328"/>
              <a:gd name="connsiteX0" fmla="*/ 0 w 2733384"/>
              <a:gd name="connsiteY0" fmla="*/ 1190779 h 2381328"/>
              <a:gd name="connsiteX1" fmla="*/ 689374 w 2733384"/>
              <a:gd name="connsiteY1" fmla="*/ 0 h 2381328"/>
              <a:gd name="connsiteX2" fmla="*/ 2043288 w 2733384"/>
              <a:gd name="connsiteY2" fmla="*/ 15696 h 2381328"/>
              <a:gd name="connsiteX3" fmla="*/ 2733384 w 2733384"/>
              <a:gd name="connsiteY3" fmla="*/ 1188607 h 2381328"/>
              <a:gd name="connsiteX4" fmla="*/ 2054769 w 2733384"/>
              <a:gd name="connsiteY4" fmla="*/ 2370526 h 2381328"/>
              <a:gd name="connsiteX5" fmla="*/ 687045 w 2733384"/>
              <a:gd name="connsiteY5" fmla="*/ 2381328 h 2381328"/>
              <a:gd name="connsiteX6" fmla="*/ 0 w 2733384"/>
              <a:gd name="connsiteY6" fmla="*/ 1190779 h 2381328"/>
              <a:gd name="connsiteX0" fmla="*/ 0 w 2733384"/>
              <a:gd name="connsiteY0" fmla="*/ 1190779 h 2390987"/>
              <a:gd name="connsiteX1" fmla="*/ 689374 w 2733384"/>
              <a:gd name="connsiteY1" fmla="*/ 0 h 2390987"/>
              <a:gd name="connsiteX2" fmla="*/ 2043288 w 2733384"/>
              <a:gd name="connsiteY2" fmla="*/ 15696 h 2390987"/>
              <a:gd name="connsiteX3" fmla="*/ 2733384 w 2733384"/>
              <a:gd name="connsiteY3" fmla="*/ 1188607 h 2390987"/>
              <a:gd name="connsiteX4" fmla="*/ 2055997 w 2733384"/>
              <a:gd name="connsiteY4" fmla="*/ 2390987 h 2390987"/>
              <a:gd name="connsiteX5" fmla="*/ 687045 w 2733384"/>
              <a:gd name="connsiteY5" fmla="*/ 2381328 h 2390987"/>
              <a:gd name="connsiteX6" fmla="*/ 0 w 2733384"/>
              <a:gd name="connsiteY6" fmla="*/ 1190779 h 2390987"/>
              <a:gd name="connsiteX0" fmla="*/ 0 w 2733384"/>
              <a:gd name="connsiteY0" fmla="*/ 1190779 h 2384725"/>
              <a:gd name="connsiteX1" fmla="*/ 689374 w 2733384"/>
              <a:gd name="connsiteY1" fmla="*/ 0 h 2384725"/>
              <a:gd name="connsiteX2" fmla="*/ 2043288 w 2733384"/>
              <a:gd name="connsiteY2" fmla="*/ 15696 h 2384725"/>
              <a:gd name="connsiteX3" fmla="*/ 2733384 w 2733384"/>
              <a:gd name="connsiteY3" fmla="*/ 1188607 h 2384725"/>
              <a:gd name="connsiteX4" fmla="*/ 2057675 w 2733384"/>
              <a:gd name="connsiteY4" fmla="*/ 2384725 h 2384725"/>
              <a:gd name="connsiteX5" fmla="*/ 687045 w 2733384"/>
              <a:gd name="connsiteY5" fmla="*/ 2381328 h 2384725"/>
              <a:gd name="connsiteX6" fmla="*/ 0 w 2733384"/>
              <a:gd name="connsiteY6" fmla="*/ 1190779 h 2384725"/>
              <a:gd name="connsiteX0" fmla="*/ 0 w 2733384"/>
              <a:gd name="connsiteY0" fmla="*/ 1190779 h 2381594"/>
              <a:gd name="connsiteX1" fmla="*/ 689374 w 2733384"/>
              <a:gd name="connsiteY1" fmla="*/ 0 h 2381594"/>
              <a:gd name="connsiteX2" fmla="*/ 2043288 w 2733384"/>
              <a:gd name="connsiteY2" fmla="*/ 15696 h 2381594"/>
              <a:gd name="connsiteX3" fmla="*/ 2733384 w 2733384"/>
              <a:gd name="connsiteY3" fmla="*/ 1188607 h 2381594"/>
              <a:gd name="connsiteX4" fmla="*/ 2058513 w 2733384"/>
              <a:gd name="connsiteY4" fmla="*/ 2381594 h 2381594"/>
              <a:gd name="connsiteX5" fmla="*/ 687045 w 2733384"/>
              <a:gd name="connsiteY5" fmla="*/ 2381328 h 2381594"/>
              <a:gd name="connsiteX6" fmla="*/ 0 w 2733384"/>
              <a:gd name="connsiteY6" fmla="*/ 1190779 h 2381594"/>
              <a:gd name="connsiteX0" fmla="*/ 0 w 2733384"/>
              <a:gd name="connsiteY0" fmla="*/ 1181080 h 2371895"/>
              <a:gd name="connsiteX1" fmla="*/ 681743 w 2733384"/>
              <a:gd name="connsiteY1" fmla="*/ 0 h 2371895"/>
              <a:gd name="connsiteX2" fmla="*/ 2043288 w 2733384"/>
              <a:gd name="connsiteY2" fmla="*/ 5997 h 2371895"/>
              <a:gd name="connsiteX3" fmla="*/ 2733384 w 2733384"/>
              <a:gd name="connsiteY3" fmla="*/ 1178908 h 2371895"/>
              <a:gd name="connsiteX4" fmla="*/ 2058513 w 2733384"/>
              <a:gd name="connsiteY4" fmla="*/ 2371895 h 2371895"/>
              <a:gd name="connsiteX5" fmla="*/ 687045 w 2733384"/>
              <a:gd name="connsiteY5" fmla="*/ 2371629 h 2371895"/>
              <a:gd name="connsiteX6" fmla="*/ 0 w 2733384"/>
              <a:gd name="connsiteY6" fmla="*/ 1181080 h 2371895"/>
              <a:gd name="connsiteX0" fmla="*/ 0 w 2733384"/>
              <a:gd name="connsiteY0" fmla="*/ 1182227 h 2373042"/>
              <a:gd name="connsiteX1" fmla="*/ 683728 w 2733384"/>
              <a:gd name="connsiteY1" fmla="*/ 0 h 2373042"/>
              <a:gd name="connsiteX2" fmla="*/ 2043288 w 2733384"/>
              <a:gd name="connsiteY2" fmla="*/ 7144 h 2373042"/>
              <a:gd name="connsiteX3" fmla="*/ 2733384 w 2733384"/>
              <a:gd name="connsiteY3" fmla="*/ 1180055 h 2373042"/>
              <a:gd name="connsiteX4" fmla="*/ 2058513 w 2733384"/>
              <a:gd name="connsiteY4" fmla="*/ 2373042 h 2373042"/>
              <a:gd name="connsiteX5" fmla="*/ 687045 w 2733384"/>
              <a:gd name="connsiteY5" fmla="*/ 2372776 h 2373042"/>
              <a:gd name="connsiteX6" fmla="*/ 0 w 2733384"/>
              <a:gd name="connsiteY6" fmla="*/ 1182227 h 2373042"/>
              <a:gd name="connsiteX0" fmla="*/ 0 w 2733384"/>
              <a:gd name="connsiteY0" fmla="*/ 1182227 h 2373042"/>
              <a:gd name="connsiteX1" fmla="*/ 683728 w 2733384"/>
              <a:gd name="connsiteY1" fmla="*/ 0 h 2373042"/>
              <a:gd name="connsiteX2" fmla="*/ 2043288 w 2733384"/>
              <a:gd name="connsiteY2" fmla="*/ 7144 h 2373042"/>
              <a:gd name="connsiteX3" fmla="*/ 2733384 w 2733384"/>
              <a:gd name="connsiteY3" fmla="*/ 1180055 h 2373042"/>
              <a:gd name="connsiteX4" fmla="*/ 2058513 w 2733384"/>
              <a:gd name="connsiteY4" fmla="*/ 2373042 h 2373042"/>
              <a:gd name="connsiteX5" fmla="*/ 687045 w 2733384"/>
              <a:gd name="connsiteY5" fmla="*/ 2372776 h 2373042"/>
              <a:gd name="connsiteX6" fmla="*/ 0 w 2733384"/>
              <a:gd name="connsiteY6" fmla="*/ 1182227 h 2373042"/>
              <a:gd name="connsiteX0" fmla="*/ 0 w 2733384"/>
              <a:gd name="connsiteY0" fmla="*/ 1184518 h 2375333"/>
              <a:gd name="connsiteX1" fmla="*/ 687697 w 2733384"/>
              <a:gd name="connsiteY1" fmla="*/ 0 h 2375333"/>
              <a:gd name="connsiteX2" fmla="*/ 2043288 w 2733384"/>
              <a:gd name="connsiteY2" fmla="*/ 9435 h 2375333"/>
              <a:gd name="connsiteX3" fmla="*/ 2733384 w 2733384"/>
              <a:gd name="connsiteY3" fmla="*/ 1182346 h 2375333"/>
              <a:gd name="connsiteX4" fmla="*/ 2058513 w 2733384"/>
              <a:gd name="connsiteY4" fmla="*/ 2375333 h 2375333"/>
              <a:gd name="connsiteX5" fmla="*/ 687045 w 2733384"/>
              <a:gd name="connsiteY5" fmla="*/ 2375067 h 2375333"/>
              <a:gd name="connsiteX6" fmla="*/ 0 w 2733384"/>
              <a:gd name="connsiteY6" fmla="*/ 1184518 h 2375333"/>
              <a:gd name="connsiteX0" fmla="*/ 0 w 2733384"/>
              <a:gd name="connsiteY0" fmla="*/ 1177950 h 2368765"/>
              <a:gd name="connsiteX1" fmla="*/ 680904 w 2733384"/>
              <a:gd name="connsiteY1" fmla="*/ 0 h 2368765"/>
              <a:gd name="connsiteX2" fmla="*/ 2043288 w 2733384"/>
              <a:gd name="connsiteY2" fmla="*/ 2867 h 2368765"/>
              <a:gd name="connsiteX3" fmla="*/ 2733384 w 2733384"/>
              <a:gd name="connsiteY3" fmla="*/ 1175778 h 2368765"/>
              <a:gd name="connsiteX4" fmla="*/ 2058513 w 2733384"/>
              <a:gd name="connsiteY4" fmla="*/ 2368765 h 2368765"/>
              <a:gd name="connsiteX5" fmla="*/ 687045 w 2733384"/>
              <a:gd name="connsiteY5" fmla="*/ 2368499 h 2368765"/>
              <a:gd name="connsiteX6" fmla="*/ 0 w 2733384"/>
              <a:gd name="connsiteY6" fmla="*/ 1177950 h 2368765"/>
              <a:gd name="connsiteX0" fmla="*/ 0 w 2733384"/>
              <a:gd name="connsiteY0" fmla="*/ 1181388 h 2372203"/>
              <a:gd name="connsiteX1" fmla="*/ 686858 w 2733384"/>
              <a:gd name="connsiteY1" fmla="*/ 0 h 2372203"/>
              <a:gd name="connsiteX2" fmla="*/ 2043288 w 2733384"/>
              <a:gd name="connsiteY2" fmla="*/ 6305 h 2372203"/>
              <a:gd name="connsiteX3" fmla="*/ 2733384 w 2733384"/>
              <a:gd name="connsiteY3" fmla="*/ 1179216 h 2372203"/>
              <a:gd name="connsiteX4" fmla="*/ 2058513 w 2733384"/>
              <a:gd name="connsiteY4" fmla="*/ 2372203 h 2372203"/>
              <a:gd name="connsiteX5" fmla="*/ 687045 w 2733384"/>
              <a:gd name="connsiteY5" fmla="*/ 2371937 h 2372203"/>
              <a:gd name="connsiteX6" fmla="*/ 0 w 2733384"/>
              <a:gd name="connsiteY6" fmla="*/ 1181388 h 2372203"/>
              <a:gd name="connsiteX0" fmla="*/ 0 w 2733384"/>
              <a:gd name="connsiteY0" fmla="*/ 1183022 h 2373837"/>
              <a:gd name="connsiteX1" fmla="*/ 686858 w 2733384"/>
              <a:gd name="connsiteY1" fmla="*/ 1634 h 2373837"/>
              <a:gd name="connsiteX2" fmla="*/ 2038705 w 2733384"/>
              <a:gd name="connsiteY2" fmla="*/ 0 h 2373837"/>
              <a:gd name="connsiteX3" fmla="*/ 2733384 w 2733384"/>
              <a:gd name="connsiteY3" fmla="*/ 1180850 h 2373837"/>
              <a:gd name="connsiteX4" fmla="*/ 2058513 w 2733384"/>
              <a:gd name="connsiteY4" fmla="*/ 2373837 h 2373837"/>
              <a:gd name="connsiteX5" fmla="*/ 687045 w 2733384"/>
              <a:gd name="connsiteY5" fmla="*/ 2373571 h 2373837"/>
              <a:gd name="connsiteX6" fmla="*/ 0 w 2733384"/>
              <a:gd name="connsiteY6" fmla="*/ 1183022 h 2373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3384" h="2373837">
                <a:moveTo>
                  <a:pt x="0" y="1183022"/>
                </a:moveTo>
                <a:lnTo>
                  <a:pt x="686858" y="1634"/>
                </a:lnTo>
                <a:lnTo>
                  <a:pt x="2038705" y="0"/>
                </a:lnTo>
                <a:lnTo>
                  <a:pt x="2733384" y="1180850"/>
                </a:lnTo>
                <a:lnTo>
                  <a:pt x="2058513" y="2373837"/>
                </a:lnTo>
                <a:lnTo>
                  <a:pt x="687045" y="2373571"/>
                </a:lnTo>
                <a:lnTo>
                  <a:pt x="0" y="1183022"/>
                </a:lnTo>
                <a:close/>
              </a:path>
            </a:pathLst>
          </a:custGeom>
          <a:noFill/>
          <a:ln w="168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804297B7-1E9B-49F8-AE7A-033BACBF68C1}"/>
              </a:ext>
            </a:extLst>
          </p:cNvPr>
          <p:cNvGrpSpPr/>
          <p:nvPr/>
        </p:nvGrpSpPr>
        <p:grpSpPr>
          <a:xfrm>
            <a:off x="7731524" y="1632195"/>
            <a:ext cx="1181417" cy="1114886"/>
            <a:chOff x="3094823" y="4030487"/>
            <a:chExt cx="2744314" cy="2589768"/>
          </a:xfrm>
        </p:grpSpPr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448FE08D-44D6-468F-9A51-CDEC8BAEDB37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E87DB55A-4BB0-448A-AE9C-DF94F11F6A1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13455D44-B92A-480B-98C7-9D0F995B40E7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9980C158-D5F2-4147-BD2A-484B53E0F704}"/>
              </a:ext>
            </a:extLst>
          </p:cNvPr>
          <p:cNvSpPr txBox="1"/>
          <p:nvPr/>
        </p:nvSpPr>
        <p:spPr>
          <a:xfrm>
            <a:off x="8050033" y="1516347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EE4FDA-7A97-41C7-9D8E-3AD1F60EF810}"/>
              </a:ext>
            </a:extLst>
          </p:cNvPr>
          <p:cNvCxnSpPr>
            <a:stCxn id="101" idx="0"/>
            <a:endCxn id="99" idx="2"/>
          </p:cNvCxnSpPr>
          <p:nvPr/>
        </p:nvCxnSpPr>
        <p:spPr>
          <a:xfrm>
            <a:off x="7732863" y="1880049"/>
            <a:ext cx="976972" cy="8474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86B8AED4-DBD6-47C7-8B94-568C5D0BC836}"/>
              </a:ext>
            </a:extLst>
          </p:cNvPr>
          <p:cNvCxnSpPr>
            <a:cxnSpLocks/>
            <a:stCxn id="102" idx="7"/>
            <a:endCxn id="104" idx="2"/>
          </p:cNvCxnSpPr>
          <p:nvPr/>
        </p:nvCxnSpPr>
        <p:spPr>
          <a:xfrm flipH="1" flipV="1">
            <a:off x="8208693" y="1885679"/>
            <a:ext cx="24784" cy="285136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E52B5A56-5016-4C11-8189-3CACDCA2F06E}"/>
              </a:ext>
            </a:extLst>
          </p:cNvPr>
          <p:cNvGrpSpPr/>
          <p:nvPr/>
        </p:nvGrpSpPr>
        <p:grpSpPr>
          <a:xfrm>
            <a:off x="9276946" y="736550"/>
            <a:ext cx="2432628" cy="5563049"/>
            <a:chOff x="-173269" y="890805"/>
            <a:chExt cx="4523821" cy="5495363"/>
          </a:xfrm>
        </p:grpSpPr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301A1A62-95D9-4EBD-A056-C409FE9D75C4}"/>
                </a:ext>
              </a:extLst>
            </p:cNvPr>
            <p:cNvSpPr/>
            <p:nvPr/>
          </p:nvSpPr>
          <p:spPr>
            <a:xfrm>
              <a:off x="-173269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273651FE-6821-47BE-8FD6-CA96B4109584}"/>
                </a:ext>
              </a:extLst>
            </p:cNvPr>
            <p:cNvSpPr txBox="1"/>
            <p:nvPr/>
          </p:nvSpPr>
          <p:spPr>
            <a:xfrm>
              <a:off x="907678" y="890805"/>
              <a:ext cx="2361926" cy="346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59821144-8655-4A42-A777-EFF83A46230C}"/>
              </a:ext>
            </a:extLst>
          </p:cNvPr>
          <p:cNvSpPr/>
          <p:nvPr/>
        </p:nvSpPr>
        <p:spPr>
          <a:xfrm>
            <a:off x="9639706" y="2679516"/>
            <a:ext cx="1251332" cy="1418708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461779C0-FA2F-4241-A27F-18EF867BACAE}"/>
              </a:ext>
            </a:extLst>
          </p:cNvPr>
          <p:cNvCxnSpPr>
            <a:cxnSpLocks/>
            <a:stCxn id="114" idx="0"/>
            <a:endCxn id="119" idx="2"/>
          </p:cNvCxnSpPr>
          <p:nvPr/>
        </p:nvCxnSpPr>
        <p:spPr>
          <a:xfrm flipV="1">
            <a:off x="10265372" y="2273865"/>
            <a:ext cx="1" cy="405651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58FEFC6F-2E56-4027-BDCA-D5CFF4C04442}"/>
              </a:ext>
            </a:extLst>
          </p:cNvPr>
          <p:cNvSpPr/>
          <p:nvPr/>
        </p:nvSpPr>
        <p:spPr>
          <a:xfrm>
            <a:off x="9407513" y="1047313"/>
            <a:ext cx="1726954" cy="139583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7E097939-A9A8-490A-850E-0FE4EE17C1D4}"/>
              </a:ext>
            </a:extLst>
          </p:cNvPr>
          <p:cNvSpPr/>
          <p:nvPr/>
        </p:nvSpPr>
        <p:spPr>
          <a:xfrm>
            <a:off x="9593631" y="1967398"/>
            <a:ext cx="1343483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PhysicalPartition</a:t>
            </a: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02F04FE5-1D4F-4495-BC38-DF43E41464EE}"/>
              </a:ext>
            </a:extLst>
          </p:cNvPr>
          <p:cNvSpPr/>
          <p:nvPr/>
        </p:nvSpPr>
        <p:spPr>
          <a:xfrm>
            <a:off x="9903897" y="1395338"/>
            <a:ext cx="722950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Subject</a:t>
            </a:r>
          </a:p>
        </p:txBody>
      </p: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25632436-98A7-4BD9-B2B2-8C4E382316AA}"/>
              </a:ext>
            </a:extLst>
          </p:cNvPr>
          <p:cNvCxnSpPr>
            <a:cxnSpLocks/>
          </p:cNvCxnSpPr>
          <p:nvPr/>
        </p:nvCxnSpPr>
        <p:spPr>
          <a:xfrm>
            <a:off x="10265372" y="1701805"/>
            <a:ext cx="1" cy="265593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99BA3656-5A22-4562-9EA3-6809B695BE35}"/>
              </a:ext>
            </a:extLst>
          </p:cNvPr>
          <p:cNvSpPr txBox="1"/>
          <p:nvPr/>
        </p:nvSpPr>
        <p:spPr>
          <a:xfrm>
            <a:off x="9407513" y="1026484"/>
            <a:ext cx="1738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>
                    <a:lumMod val="50000"/>
                  </a:schemeClr>
                </a:solidFill>
              </a:rPr>
              <a:t>RepositoryModel</a:t>
            </a:r>
            <a:endParaRPr lang="en-US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269710E9-A751-4B64-92CB-E7BEC3601571}"/>
              </a:ext>
            </a:extLst>
          </p:cNvPr>
          <p:cNvSpPr txBox="1"/>
          <p:nvPr/>
        </p:nvSpPr>
        <p:spPr>
          <a:xfrm>
            <a:off x="9396278" y="2671325"/>
            <a:ext cx="1738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38ADB"/>
                </a:solidFill>
              </a:rPr>
              <a:t>Top-Model</a:t>
            </a:r>
            <a:endParaRPr lang="en-US" sz="1600" dirty="0">
              <a:solidFill>
                <a:srgbClr val="038ADB"/>
              </a:solidFill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D5EF1683-D953-43E3-AC4F-E54415B66945}"/>
              </a:ext>
            </a:extLst>
          </p:cNvPr>
          <p:cNvSpPr txBox="1"/>
          <p:nvPr/>
        </p:nvSpPr>
        <p:spPr>
          <a:xfrm>
            <a:off x="10221737" y="2397720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9A6EA150-2209-4585-B3A7-C09E1E46405A}"/>
              </a:ext>
            </a:extLst>
          </p:cNvPr>
          <p:cNvSpPr txBox="1"/>
          <p:nvPr/>
        </p:nvSpPr>
        <p:spPr>
          <a:xfrm>
            <a:off x="7947995" y="1803916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17511CD6-4208-4F1A-9401-AD5AD27A9549}"/>
              </a:ext>
            </a:extLst>
          </p:cNvPr>
          <p:cNvSpPr txBox="1"/>
          <p:nvPr/>
        </p:nvSpPr>
        <p:spPr>
          <a:xfrm>
            <a:off x="8154496" y="1803916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28" name="Rectangle: Rounded Corners 127">
            <a:extLst>
              <a:ext uri="{FF2B5EF4-FFF2-40B4-BE49-F238E27FC236}">
                <a16:creationId xmlns:a16="http://schemas.microsoft.com/office/drawing/2014/main" id="{2415A50B-860A-41EA-9ACE-98095BB01DB5}"/>
              </a:ext>
            </a:extLst>
          </p:cNvPr>
          <p:cNvSpPr/>
          <p:nvPr/>
        </p:nvSpPr>
        <p:spPr>
          <a:xfrm>
            <a:off x="10387928" y="3564715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6</a:t>
            </a:r>
          </a:p>
        </p:txBody>
      </p:sp>
      <p:sp>
        <p:nvSpPr>
          <p:cNvPr id="129" name="Rectangle: Rounded Corners 128">
            <a:extLst>
              <a:ext uri="{FF2B5EF4-FFF2-40B4-BE49-F238E27FC236}">
                <a16:creationId xmlns:a16="http://schemas.microsoft.com/office/drawing/2014/main" id="{05E8185E-DABA-463E-A8F6-94A10140978E}"/>
              </a:ext>
            </a:extLst>
          </p:cNvPr>
          <p:cNvSpPr/>
          <p:nvPr/>
        </p:nvSpPr>
        <p:spPr>
          <a:xfrm>
            <a:off x="9736321" y="3593939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5</a:t>
            </a: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B227DC39-4E74-4993-A934-D65F14A802E3}"/>
              </a:ext>
            </a:extLst>
          </p:cNvPr>
          <p:cNvCxnSpPr>
            <a:cxnSpLocks/>
            <a:stCxn id="113" idx="2"/>
            <a:endCxn id="129" idx="0"/>
          </p:cNvCxnSpPr>
          <p:nvPr/>
        </p:nvCxnSpPr>
        <p:spPr>
          <a:xfrm flipH="1">
            <a:off x="9962414" y="3342319"/>
            <a:ext cx="302959" cy="25162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480E49F4-A9E5-4EC9-BEC6-D4016F9F8CC6}"/>
              </a:ext>
            </a:extLst>
          </p:cNvPr>
          <p:cNvCxnSpPr>
            <a:cxnSpLocks/>
            <a:stCxn id="113" idx="2"/>
            <a:endCxn id="128" idx="0"/>
          </p:cNvCxnSpPr>
          <p:nvPr/>
        </p:nvCxnSpPr>
        <p:spPr>
          <a:xfrm>
            <a:off x="10265373" y="3342319"/>
            <a:ext cx="348648" cy="222396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2C23DC88-70CA-401A-8EBC-14CBC67C9E31}"/>
              </a:ext>
            </a:extLst>
          </p:cNvPr>
          <p:cNvSpPr/>
          <p:nvPr/>
        </p:nvSpPr>
        <p:spPr>
          <a:xfrm>
            <a:off x="10039280" y="3035852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4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8FE61F01-3C7A-4E70-80CB-DC134AE5DB34}"/>
              </a:ext>
            </a:extLst>
          </p:cNvPr>
          <p:cNvSpPr txBox="1"/>
          <p:nvPr/>
        </p:nvSpPr>
        <p:spPr>
          <a:xfrm>
            <a:off x="10457041" y="314937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parent-child</a:t>
            </a:r>
          </a:p>
        </p:txBody>
      </p:sp>
      <p:sp>
        <p:nvSpPr>
          <p:cNvPr id="133" name="Speech Bubble: Rectangle with Corners Rounded 132">
            <a:extLst>
              <a:ext uri="{FF2B5EF4-FFF2-40B4-BE49-F238E27FC236}">
                <a16:creationId xmlns:a16="http://schemas.microsoft.com/office/drawing/2014/main" id="{7830C267-1629-4C0D-BBD0-F5138E0D55C4}"/>
              </a:ext>
            </a:extLst>
          </p:cNvPr>
          <p:cNvSpPr/>
          <p:nvPr/>
        </p:nvSpPr>
        <p:spPr>
          <a:xfrm>
            <a:off x="6607216" y="1032588"/>
            <a:ext cx="991999" cy="485383"/>
          </a:xfrm>
          <a:prstGeom prst="wedgeRoundRectCallout">
            <a:avLst>
              <a:gd name="adj1" fmla="val 107344"/>
              <a:gd name="adj2" fmla="val 49226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“Whole” Object 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3B7A3BEE-B8F0-4BB4-A73D-A24B8EDBBC4D}"/>
              </a:ext>
            </a:extLst>
          </p:cNvPr>
          <p:cNvSpPr txBox="1"/>
          <p:nvPr/>
        </p:nvSpPr>
        <p:spPr>
          <a:xfrm>
            <a:off x="32820" y="53871"/>
            <a:ext cx="27258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ing Entity 0 from two different granularities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9F099267-6ABC-4ACB-B552-A57642490505}"/>
              </a:ext>
            </a:extLst>
          </p:cNvPr>
          <p:cNvSpPr txBox="1"/>
          <p:nvPr/>
        </p:nvSpPr>
        <p:spPr>
          <a:xfrm>
            <a:off x="8977021" y="88439"/>
            <a:ext cx="30382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ing Entity 4 as identifiable parts in a single model</a:t>
            </a: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55F5EFA2-34B8-4905-AD34-03CCD89B6D4F}"/>
              </a:ext>
            </a:extLst>
          </p:cNvPr>
          <p:cNvCxnSpPr>
            <a:cxnSpLocks/>
            <a:stCxn id="113" idx="1"/>
          </p:cNvCxnSpPr>
          <p:nvPr/>
        </p:nvCxnSpPr>
        <p:spPr>
          <a:xfrm flipH="1" flipV="1">
            <a:off x="8277308" y="1741336"/>
            <a:ext cx="1761972" cy="144775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BA8294BF-96A5-4231-83AB-65E9DBB3B9B5}"/>
              </a:ext>
            </a:extLst>
          </p:cNvPr>
          <p:cNvCxnSpPr>
            <a:cxnSpLocks/>
            <a:stCxn id="128" idx="1"/>
          </p:cNvCxnSpPr>
          <p:nvPr/>
        </p:nvCxnSpPr>
        <p:spPr>
          <a:xfrm flipH="1" flipV="1">
            <a:off x="8381130" y="1987839"/>
            <a:ext cx="2006798" cy="173011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EB13375C-555F-4D63-8F53-977F465AD90F}"/>
              </a:ext>
            </a:extLst>
          </p:cNvPr>
          <p:cNvCxnSpPr>
            <a:cxnSpLocks/>
            <a:stCxn id="129" idx="1"/>
          </p:cNvCxnSpPr>
          <p:nvPr/>
        </p:nvCxnSpPr>
        <p:spPr>
          <a:xfrm flipH="1" flipV="1">
            <a:off x="8121415" y="2049905"/>
            <a:ext cx="1614906" cy="1697268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335D8F03-2BF1-4B10-B5DF-A3F88BE5633B}"/>
              </a:ext>
            </a:extLst>
          </p:cNvPr>
          <p:cNvCxnSpPr>
            <a:cxnSpLocks/>
            <a:stCxn id="120" idx="1"/>
            <a:endCxn id="133" idx="4"/>
          </p:cNvCxnSpPr>
          <p:nvPr/>
        </p:nvCxnSpPr>
        <p:spPr>
          <a:xfrm flipH="1" flipV="1">
            <a:off x="8168067" y="1514214"/>
            <a:ext cx="1735830" cy="34358"/>
          </a:xfrm>
          <a:prstGeom prst="straightConnector1">
            <a:avLst/>
          </a:prstGeom>
          <a:ln w="38100">
            <a:solidFill>
              <a:srgbClr val="A6AFB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5B6C8BDD-A6C7-4028-9D18-EA1E49447DC1}"/>
              </a:ext>
            </a:extLst>
          </p:cNvPr>
          <p:cNvCxnSpPr>
            <a:cxnSpLocks/>
            <a:stCxn id="119" idx="1"/>
          </p:cNvCxnSpPr>
          <p:nvPr/>
        </p:nvCxnSpPr>
        <p:spPr>
          <a:xfrm flipH="1" flipV="1">
            <a:off x="8485838" y="1798118"/>
            <a:ext cx="1107793" cy="322514"/>
          </a:xfrm>
          <a:prstGeom prst="straightConnector1">
            <a:avLst/>
          </a:prstGeom>
          <a:ln w="38100">
            <a:solidFill>
              <a:srgbClr val="A6AFB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Speech Bubble: Rectangle with Corners Rounded 140">
            <a:extLst>
              <a:ext uri="{FF2B5EF4-FFF2-40B4-BE49-F238E27FC236}">
                <a16:creationId xmlns:a16="http://schemas.microsoft.com/office/drawing/2014/main" id="{2CD7A561-137D-4760-AF42-D63593A2C954}"/>
              </a:ext>
            </a:extLst>
          </p:cNvPr>
          <p:cNvSpPr/>
          <p:nvPr/>
        </p:nvSpPr>
        <p:spPr>
          <a:xfrm>
            <a:off x="7648965" y="2999631"/>
            <a:ext cx="1108305" cy="761847"/>
          </a:xfrm>
          <a:prstGeom prst="wedgeRoundRectCallout">
            <a:avLst>
              <a:gd name="adj1" fmla="val 2516"/>
              <a:gd name="adj2" fmla="val -185264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“Parts” of the “Whole” Object</a:t>
            </a:r>
          </a:p>
        </p:txBody>
      </p:sp>
    </p:spTree>
    <p:extLst>
      <p:ext uri="{BB962C8B-B14F-4D97-AF65-F5344CB8AC3E}">
        <p14:creationId xmlns:p14="http://schemas.microsoft.com/office/powerpoint/2010/main" val="20268756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1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1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1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73" grpId="0" animBg="1"/>
      <p:bldP spid="74" grpId="0" animBg="1"/>
      <p:bldP spid="78" grpId="0"/>
      <p:bldP spid="85" grpId="0"/>
      <p:bldP spid="90" grpId="0"/>
      <p:bldP spid="94" grpId="0"/>
      <p:bldP spid="97" grpId="0"/>
      <p:bldP spid="118" grpId="0" animBg="1"/>
      <p:bldP spid="119" grpId="0" animBg="1"/>
      <p:bldP spid="120" grpId="0" animBg="1"/>
      <p:bldP spid="122" grpId="0"/>
      <p:bldP spid="123" grpId="0"/>
      <p:bldP spid="134" grpId="0"/>
      <p:bldP spid="13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5" y="237744"/>
            <a:ext cx="11418649" cy="758952"/>
          </a:xfrm>
        </p:spPr>
        <p:txBody>
          <a:bodyPr>
            <a:normAutofit fontScale="90000"/>
          </a:bodyPr>
          <a:lstStyle/>
          <a:p>
            <a:r>
              <a:rPr lang="en-US" dirty="0"/>
              <a:t>The RepositoryModel is the Table-of-Contents of the BIS Reposito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6667FA-4477-4853-8B6E-73AE67495E70}"/>
              </a:ext>
            </a:extLst>
          </p:cNvPr>
          <p:cNvSpPr txBox="1"/>
          <p:nvPr/>
        </p:nvSpPr>
        <p:spPr>
          <a:xfrm>
            <a:off x="9308595" y="337371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C3DC733-B9EA-4BDE-9056-F5B4C1E0B4B0}"/>
              </a:ext>
            </a:extLst>
          </p:cNvPr>
          <p:cNvSpPr txBox="1"/>
          <p:nvPr/>
        </p:nvSpPr>
        <p:spPr>
          <a:xfrm>
            <a:off x="10718349" y="431376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003A512-C78D-4585-98DA-9F23A18CA65F}"/>
              </a:ext>
            </a:extLst>
          </p:cNvPr>
          <p:cNvSpPr/>
          <p:nvPr/>
        </p:nvSpPr>
        <p:spPr>
          <a:xfrm>
            <a:off x="7538354" y="3267997"/>
            <a:ext cx="3097957" cy="2969336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143EA5-7747-4086-A255-4690C88D5144}"/>
              </a:ext>
            </a:extLst>
          </p:cNvPr>
          <p:cNvGrpSpPr/>
          <p:nvPr/>
        </p:nvGrpSpPr>
        <p:grpSpPr>
          <a:xfrm>
            <a:off x="8679230" y="2493713"/>
            <a:ext cx="1181417" cy="1114886"/>
            <a:chOff x="3094823" y="4030487"/>
            <a:chExt cx="2744314" cy="258976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B3DD72-FB28-4FD7-A83A-3995E319FBAD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6BDEE1D-40B3-4872-AD0D-B7FFD6580AA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8D32885-E7F9-4212-A642-E4168539E3F3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B304619-852E-41A9-9A3A-9E7C9A8EB376}"/>
              </a:ext>
            </a:extLst>
          </p:cNvPr>
          <p:cNvSpPr txBox="1"/>
          <p:nvPr/>
        </p:nvSpPr>
        <p:spPr>
          <a:xfrm>
            <a:off x="9719085" y="180916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776EE2C-C928-48EC-93A7-4D976A1886F4}"/>
              </a:ext>
            </a:extLst>
          </p:cNvPr>
          <p:cNvSpPr txBox="1"/>
          <p:nvPr/>
        </p:nvSpPr>
        <p:spPr>
          <a:xfrm>
            <a:off x="3347056" y="3140548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BA642D6C-6692-43A3-BD5B-43994681C532}"/>
              </a:ext>
            </a:extLst>
          </p:cNvPr>
          <p:cNvSpPr/>
          <p:nvPr/>
        </p:nvSpPr>
        <p:spPr>
          <a:xfrm>
            <a:off x="4835393" y="3300562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0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96EBE3D0-6B2B-4A80-B94F-19CD1A0DB0A4}"/>
              </a:ext>
            </a:extLst>
          </p:cNvPr>
          <p:cNvSpPr/>
          <p:nvPr/>
        </p:nvSpPr>
        <p:spPr>
          <a:xfrm>
            <a:off x="2481838" y="3300562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0</a:t>
            </a:r>
          </a:p>
        </p:txBody>
      </p: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CB3AF84-934A-4898-9F07-6B9BE9BCCCE3}"/>
              </a:ext>
            </a:extLst>
          </p:cNvPr>
          <p:cNvCxnSpPr>
            <a:cxnSpLocks/>
            <a:stCxn id="82" idx="3"/>
            <a:endCxn id="81" idx="1"/>
          </p:cNvCxnSpPr>
          <p:nvPr/>
        </p:nvCxnSpPr>
        <p:spPr>
          <a:xfrm>
            <a:off x="2925465" y="3453796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2471A43-F428-400B-8197-B93AE1946D45}"/>
              </a:ext>
            </a:extLst>
          </p:cNvPr>
          <p:cNvSpPr/>
          <p:nvPr/>
        </p:nvSpPr>
        <p:spPr>
          <a:xfrm>
            <a:off x="4435819" y="3170651"/>
            <a:ext cx="1251332" cy="624910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08668837-8979-4786-8B20-6C3C343054EA}"/>
              </a:ext>
            </a:extLst>
          </p:cNvPr>
          <p:cNvSpPr/>
          <p:nvPr/>
        </p:nvSpPr>
        <p:spPr>
          <a:xfrm>
            <a:off x="2077985" y="3167476"/>
            <a:ext cx="1251332" cy="628085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6FBDF38-B833-480C-A1E6-53DF4303E2BA}"/>
              </a:ext>
            </a:extLst>
          </p:cNvPr>
          <p:cNvSpPr txBox="1"/>
          <p:nvPr/>
        </p:nvSpPr>
        <p:spPr>
          <a:xfrm>
            <a:off x="2714991" y="383223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2B188DAD-393E-4B1A-B23D-426957446B9B}"/>
              </a:ext>
            </a:extLst>
          </p:cNvPr>
          <p:cNvCxnSpPr>
            <a:cxnSpLocks/>
            <a:stCxn id="196" idx="0"/>
            <a:endCxn id="82" idx="2"/>
          </p:cNvCxnSpPr>
          <p:nvPr/>
        </p:nvCxnSpPr>
        <p:spPr>
          <a:xfrm flipV="1">
            <a:off x="2703651" y="3607029"/>
            <a:ext cx="1" cy="641999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8070A4A5-3796-4B03-B379-90A59C7FFAD7}"/>
              </a:ext>
            </a:extLst>
          </p:cNvPr>
          <p:cNvSpPr txBox="1"/>
          <p:nvPr/>
        </p:nvSpPr>
        <p:spPr>
          <a:xfrm>
            <a:off x="5032397" y="379676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12D1AD1-9BAC-4B66-9C82-CC442857AB8B}"/>
              </a:ext>
            </a:extLst>
          </p:cNvPr>
          <p:cNvCxnSpPr>
            <a:cxnSpLocks/>
            <a:stCxn id="195" idx="0"/>
            <a:endCxn id="81" idx="2"/>
          </p:cNvCxnSpPr>
          <p:nvPr/>
        </p:nvCxnSpPr>
        <p:spPr>
          <a:xfrm flipV="1">
            <a:off x="5061485" y="3607029"/>
            <a:ext cx="1" cy="641999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CA99D101-03DA-464E-8C14-4F501E7D277B}"/>
              </a:ext>
            </a:extLst>
          </p:cNvPr>
          <p:cNvGrpSpPr/>
          <p:nvPr/>
        </p:nvGrpSpPr>
        <p:grpSpPr>
          <a:xfrm>
            <a:off x="8143777" y="3563971"/>
            <a:ext cx="1181417" cy="1114886"/>
            <a:chOff x="3094823" y="4030487"/>
            <a:chExt cx="2744314" cy="2589768"/>
          </a:xfrm>
        </p:grpSpPr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F26758D9-8D81-4DF2-A600-37A3215FED8F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C52D8A2D-2DA9-4CB5-9354-6A69C22DCB14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8EF2CC71-5D53-46EA-930C-E62183E1F20B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58877017-C9F8-4048-9D2F-63EE43944247}"/>
              </a:ext>
            </a:extLst>
          </p:cNvPr>
          <p:cNvSpPr txBox="1"/>
          <p:nvPr/>
        </p:nvSpPr>
        <p:spPr>
          <a:xfrm>
            <a:off x="3372127" y="4252811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931EDFB5-DD09-4C7B-9A72-4C12331CD005}"/>
              </a:ext>
            </a:extLst>
          </p:cNvPr>
          <p:cNvGrpSpPr/>
          <p:nvPr/>
        </p:nvGrpSpPr>
        <p:grpSpPr>
          <a:xfrm>
            <a:off x="7652555" y="5066633"/>
            <a:ext cx="1181417" cy="1114886"/>
            <a:chOff x="3094823" y="4030487"/>
            <a:chExt cx="2744314" cy="2589768"/>
          </a:xfrm>
        </p:grpSpPr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AE1CCC96-5E80-4673-890D-61AA733BA462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EAF0BBE6-22C0-449C-A08B-C65C8D8B37CE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4479A807-CE46-4706-887D-B0FA73E7DE10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84E3F6FB-9753-49B7-ADE7-5AA15375413E}"/>
              </a:ext>
            </a:extLst>
          </p:cNvPr>
          <p:cNvGrpSpPr/>
          <p:nvPr/>
        </p:nvGrpSpPr>
        <p:grpSpPr>
          <a:xfrm>
            <a:off x="9537468" y="4529652"/>
            <a:ext cx="1181417" cy="1114886"/>
            <a:chOff x="3094823" y="4030487"/>
            <a:chExt cx="2744314" cy="2589768"/>
          </a:xfrm>
        </p:grpSpPr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1AAB8F11-18D3-43DF-BB99-4A8591F67D18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A7810778-0C16-4C67-BEC1-7894D17AF517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FA91F3D4-5064-440C-BD9C-5A5EF3C64528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81" name="Rectangle: Rounded Corners 180">
            <a:extLst>
              <a:ext uri="{FF2B5EF4-FFF2-40B4-BE49-F238E27FC236}">
                <a16:creationId xmlns:a16="http://schemas.microsoft.com/office/drawing/2014/main" id="{D2312687-AA6A-456B-B951-A7A388E39B8D}"/>
              </a:ext>
            </a:extLst>
          </p:cNvPr>
          <p:cNvSpPr/>
          <p:nvPr/>
        </p:nvSpPr>
        <p:spPr>
          <a:xfrm>
            <a:off x="4835393" y="4422553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40F665F8-2B83-4911-9539-6FE14D86C168}"/>
              </a:ext>
            </a:extLst>
          </p:cNvPr>
          <p:cNvSpPr/>
          <p:nvPr/>
        </p:nvSpPr>
        <p:spPr>
          <a:xfrm>
            <a:off x="2481838" y="4422553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1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648B9B3C-5E92-44DE-AD33-0C45C4801C60}"/>
              </a:ext>
            </a:extLst>
          </p:cNvPr>
          <p:cNvCxnSpPr>
            <a:cxnSpLocks/>
            <a:stCxn id="182" idx="3"/>
            <a:endCxn id="181" idx="1"/>
          </p:cNvCxnSpPr>
          <p:nvPr/>
        </p:nvCxnSpPr>
        <p:spPr>
          <a:xfrm>
            <a:off x="2925465" y="4575787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C64CC1A8-D058-4591-97D9-868CDDFF9995}"/>
              </a:ext>
            </a:extLst>
          </p:cNvPr>
          <p:cNvSpPr txBox="1"/>
          <p:nvPr/>
        </p:nvSpPr>
        <p:spPr>
          <a:xfrm>
            <a:off x="3360512" y="5011740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85" name="Rectangle: Rounded Corners 184">
            <a:extLst>
              <a:ext uri="{FF2B5EF4-FFF2-40B4-BE49-F238E27FC236}">
                <a16:creationId xmlns:a16="http://schemas.microsoft.com/office/drawing/2014/main" id="{395EB5B4-74D2-46F9-80C3-B857E600A7BD}"/>
              </a:ext>
            </a:extLst>
          </p:cNvPr>
          <p:cNvSpPr/>
          <p:nvPr/>
        </p:nvSpPr>
        <p:spPr>
          <a:xfrm>
            <a:off x="4835393" y="5187664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2</a:t>
            </a:r>
          </a:p>
        </p:txBody>
      </p:sp>
      <p:sp>
        <p:nvSpPr>
          <p:cNvPr id="186" name="Rectangle: Rounded Corners 185">
            <a:extLst>
              <a:ext uri="{FF2B5EF4-FFF2-40B4-BE49-F238E27FC236}">
                <a16:creationId xmlns:a16="http://schemas.microsoft.com/office/drawing/2014/main" id="{7348A645-E3F0-44FE-A755-355EB34A10B4}"/>
              </a:ext>
            </a:extLst>
          </p:cNvPr>
          <p:cNvSpPr/>
          <p:nvPr/>
        </p:nvSpPr>
        <p:spPr>
          <a:xfrm>
            <a:off x="2481838" y="5187664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2</a:t>
            </a:r>
          </a:p>
        </p:txBody>
      </p:sp>
      <p:cxnSp>
        <p:nvCxnSpPr>
          <p:cNvPr id="187" name="Straight Arrow Connector 186">
            <a:extLst>
              <a:ext uri="{FF2B5EF4-FFF2-40B4-BE49-F238E27FC236}">
                <a16:creationId xmlns:a16="http://schemas.microsoft.com/office/drawing/2014/main" id="{20AE6500-7576-4EEB-A165-07700FEC8A8F}"/>
              </a:ext>
            </a:extLst>
          </p:cNvPr>
          <p:cNvCxnSpPr>
            <a:cxnSpLocks/>
            <a:stCxn id="186" idx="3"/>
            <a:endCxn id="185" idx="1"/>
          </p:cNvCxnSpPr>
          <p:nvPr/>
        </p:nvCxnSpPr>
        <p:spPr>
          <a:xfrm>
            <a:off x="2925465" y="5340898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id="{E4139AB1-E5B5-4A3F-98E6-FE90211640B8}"/>
              </a:ext>
            </a:extLst>
          </p:cNvPr>
          <p:cNvSpPr txBox="1"/>
          <p:nvPr/>
        </p:nvSpPr>
        <p:spPr>
          <a:xfrm>
            <a:off x="3372127" y="5497701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A027CD99-AF0D-44F9-8BDF-A1EF75B2D864}"/>
              </a:ext>
            </a:extLst>
          </p:cNvPr>
          <p:cNvSpPr/>
          <p:nvPr/>
        </p:nvSpPr>
        <p:spPr>
          <a:xfrm>
            <a:off x="4835393" y="5667443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3</a:t>
            </a:r>
          </a:p>
        </p:txBody>
      </p:sp>
      <p:sp>
        <p:nvSpPr>
          <p:cNvPr id="190" name="Rectangle: Rounded Corners 189">
            <a:extLst>
              <a:ext uri="{FF2B5EF4-FFF2-40B4-BE49-F238E27FC236}">
                <a16:creationId xmlns:a16="http://schemas.microsoft.com/office/drawing/2014/main" id="{E5AF9321-4925-4D31-B245-8DA676B6FA4D}"/>
              </a:ext>
            </a:extLst>
          </p:cNvPr>
          <p:cNvSpPr/>
          <p:nvPr/>
        </p:nvSpPr>
        <p:spPr>
          <a:xfrm>
            <a:off x="2481838" y="5667443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3</a:t>
            </a:r>
          </a:p>
        </p:txBody>
      </p: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C58AA510-3694-4359-88A3-94B286DFD297}"/>
              </a:ext>
            </a:extLst>
          </p:cNvPr>
          <p:cNvCxnSpPr>
            <a:cxnSpLocks/>
            <a:stCxn id="190" idx="3"/>
            <a:endCxn id="189" idx="1"/>
          </p:cNvCxnSpPr>
          <p:nvPr/>
        </p:nvCxnSpPr>
        <p:spPr>
          <a:xfrm>
            <a:off x="2925465" y="5820677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>
            <a:extLst>
              <a:ext uri="{FF2B5EF4-FFF2-40B4-BE49-F238E27FC236}">
                <a16:creationId xmlns:a16="http://schemas.microsoft.com/office/drawing/2014/main" id="{51D40823-2830-4C2C-AEFD-F6F4B67E98BC}"/>
              </a:ext>
            </a:extLst>
          </p:cNvPr>
          <p:cNvSpPr txBox="1"/>
          <p:nvPr/>
        </p:nvSpPr>
        <p:spPr>
          <a:xfrm>
            <a:off x="8462286" y="362899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D31E77A4-547B-47F9-9EE0-58BFABC444AD}"/>
              </a:ext>
            </a:extLst>
          </p:cNvPr>
          <p:cNvSpPr txBox="1"/>
          <p:nvPr/>
        </p:nvSpPr>
        <p:spPr>
          <a:xfrm>
            <a:off x="7968354" y="5127928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9FBBC1BF-CE8B-4FC7-B23E-D65DB3CF4CD5}"/>
              </a:ext>
            </a:extLst>
          </p:cNvPr>
          <p:cNvSpPr txBox="1"/>
          <p:nvPr/>
        </p:nvSpPr>
        <p:spPr>
          <a:xfrm>
            <a:off x="9872040" y="456904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05390FAB-FBCB-426F-889E-0B10A58F0158}"/>
              </a:ext>
            </a:extLst>
          </p:cNvPr>
          <p:cNvSpPr/>
          <p:nvPr/>
        </p:nvSpPr>
        <p:spPr>
          <a:xfrm>
            <a:off x="4435819" y="4249028"/>
            <a:ext cx="1251332" cy="1929481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Rectangle: Rounded Corners 195">
            <a:extLst>
              <a:ext uri="{FF2B5EF4-FFF2-40B4-BE49-F238E27FC236}">
                <a16:creationId xmlns:a16="http://schemas.microsoft.com/office/drawing/2014/main" id="{DD4DD6A5-A256-47C0-845A-E04F94113751}"/>
              </a:ext>
            </a:extLst>
          </p:cNvPr>
          <p:cNvSpPr/>
          <p:nvPr/>
        </p:nvSpPr>
        <p:spPr>
          <a:xfrm>
            <a:off x="2077985" y="4249028"/>
            <a:ext cx="1251332" cy="1929481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A58BA6A8-3849-4A7D-B93E-C9D6D202F879}"/>
              </a:ext>
            </a:extLst>
          </p:cNvPr>
          <p:cNvGrpSpPr/>
          <p:nvPr/>
        </p:nvGrpSpPr>
        <p:grpSpPr>
          <a:xfrm>
            <a:off x="7421438" y="1643291"/>
            <a:ext cx="3328289" cy="4629341"/>
            <a:chOff x="7421438" y="796949"/>
            <a:chExt cx="3328289" cy="5495363"/>
          </a:xfrm>
        </p:grpSpPr>
        <p:sp>
          <p:nvSpPr>
            <p:cNvPr id="200" name="Rectangle: Rounded Corners 199">
              <a:extLst>
                <a:ext uri="{FF2B5EF4-FFF2-40B4-BE49-F238E27FC236}">
                  <a16:creationId xmlns:a16="http://schemas.microsoft.com/office/drawing/2014/main" id="{8948C40A-E49A-4CF9-B4C4-EDE283FC0965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BDFDAF7D-3E05-4FE9-9C81-391152A87894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63EC54A0-7044-4793-99C1-7FA80F37DEC5}"/>
              </a:ext>
            </a:extLst>
          </p:cNvPr>
          <p:cNvGrpSpPr/>
          <p:nvPr/>
        </p:nvGrpSpPr>
        <p:grpSpPr>
          <a:xfrm>
            <a:off x="1760706" y="1037321"/>
            <a:ext cx="4157209" cy="5235311"/>
            <a:chOff x="196828" y="890805"/>
            <a:chExt cx="4523821" cy="5495363"/>
          </a:xfrm>
        </p:grpSpPr>
        <p:sp>
          <p:nvSpPr>
            <p:cNvPr id="203" name="Rectangle: Rounded Corners 202">
              <a:extLst>
                <a:ext uri="{FF2B5EF4-FFF2-40B4-BE49-F238E27FC236}">
                  <a16:creationId xmlns:a16="http://schemas.microsoft.com/office/drawing/2014/main" id="{E29EFFF4-5C18-40C7-8F0E-AEB0B70F2430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A1E91213-E445-40F3-8F1B-8C22A130FF58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205" name="TextBox 204">
            <a:extLst>
              <a:ext uri="{FF2B5EF4-FFF2-40B4-BE49-F238E27FC236}">
                <a16:creationId xmlns:a16="http://schemas.microsoft.com/office/drawing/2014/main" id="{58D6E74B-30B4-4155-B7FF-A9631E2BFDA2}"/>
              </a:ext>
            </a:extLst>
          </p:cNvPr>
          <p:cNvSpPr txBox="1"/>
          <p:nvPr/>
        </p:nvSpPr>
        <p:spPr>
          <a:xfrm>
            <a:off x="9006801" y="255532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E2AC47BD-BF65-4904-98E0-42050D32DEBE}"/>
              </a:ext>
            </a:extLst>
          </p:cNvPr>
          <p:cNvSpPr/>
          <p:nvPr/>
        </p:nvSpPr>
        <p:spPr>
          <a:xfrm>
            <a:off x="2133769" y="1761805"/>
            <a:ext cx="3446377" cy="1136247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A20A891-F484-4886-86EB-27C8816DE8F1}"/>
              </a:ext>
            </a:extLst>
          </p:cNvPr>
          <p:cNvSpPr/>
          <p:nvPr/>
        </p:nvSpPr>
        <p:spPr>
          <a:xfrm>
            <a:off x="2318082" y="2440704"/>
            <a:ext cx="1482374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 err="1"/>
              <a:t>FunctionalPartition</a:t>
            </a:r>
            <a:endParaRPr lang="en-US" sz="1200" dirty="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8C09C23C-97E6-454F-AB24-67E7A787C914}"/>
              </a:ext>
            </a:extLst>
          </p:cNvPr>
          <p:cNvSpPr/>
          <p:nvPr/>
        </p:nvSpPr>
        <p:spPr>
          <a:xfrm>
            <a:off x="4131610" y="2434258"/>
            <a:ext cx="1343483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PhysicalPartition</a:t>
            </a: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7B3484E6-A7E2-4F62-82BF-0275A33AE505}"/>
              </a:ext>
            </a:extLst>
          </p:cNvPr>
          <p:cNvCxnSpPr>
            <a:cxnSpLocks/>
            <a:stCxn id="85" idx="0"/>
            <a:endCxn id="67" idx="2"/>
          </p:cNvCxnSpPr>
          <p:nvPr/>
        </p:nvCxnSpPr>
        <p:spPr>
          <a:xfrm flipV="1">
            <a:off x="2703651" y="2747171"/>
            <a:ext cx="355618" cy="420305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E953055D-BAB4-4721-BC60-4007107FED31}"/>
              </a:ext>
            </a:extLst>
          </p:cNvPr>
          <p:cNvCxnSpPr>
            <a:cxnSpLocks/>
            <a:stCxn id="84" idx="0"/>
            <a:endCxn id="68" idx="2"/>
          </p:cNvCxnSpPr>
          <p:nvPr/>
        </p:nvCxnSpPr>
        <p:spPr>
          <a:xfrm flipH="1" flipV="1">
            <a:off x="4803352" y="2740725"/>
            <a:ext cx="258133" cy="429926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C713BBF5-8F38-48A3-900F-75BBBB4DC11B}"/>
              </a:ext>
            </a:extLst>
          </p:cNvPr>
          <p:cNvSpPr/>
          <p:nvPr/>
        </p:nvSpPr>
        <p:spPr>
          <a:xfrm>
            <a:off x="3495482" y="1958823"/>
            <a:ext cx="722950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Subject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2191C25B-2AB6-472C-A0D3-CF10B78830C0}"/>
              </a:ext>
            </a:extLst>
          </p:cNvPr>
          <p:cNvCxnSpPr>
            <a:cxnSpLocks/>
            <a:stCxn id="71" idx="2"/>
            <a:endCxn id="67" idx="0"/>
          </p:cNvCxnSpPr>
          <p:nvPr/>
        </p:nvCxnSpPr>
        <p:spPr>
          <a:xfrm flipH="1">
            <a:off x="3059269" y="2265290"/>
            <a:ext cx="797688" cy="175414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041248D-65E7-4E02-B8DC-A8D89445A7E7}"/>
              </a:ext>
            </a:extLst>
          </p:cNvPr>
          <p:cNvCxnSpPr>
            <a:cxnSpLocks/>
            <a:stCxn id="71" idx="2"/>
            <a:endCxn id="68" idx="0"/>
          </p:cNvCxnSpPr>
          <p:nvPr/>
        </p:nvCxnSpPr>
        <p:spPr>
          <a:xfrm>
            <a:off x="3856957" y="2265290"/>
            <a:ext cx="946395" cy="168968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97E13C32-02D3-46B9-8155-C2BE986C6A7D}"/>
              </a:ext>
            </a:extLst>
          </p:cNvPr>
          <p:cNvSpPr txBox="1"/>
          <p:nvPr/>
        </p:nvSpPr>
        <p:spPr>
          <a:xfrm>
            <a:off x="2970215" y="1469383"/>
            <a:ext cx="1738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50000"/>
                  </a:schemeClr>
                </a:solidFill>
              </a:rPr>
              <a:t>RepositoryModel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AE9F8968-EF87-4636-B6FA-D420F6A8CA30}"/>
              </a:ext>
            </a:extLst>
          </p:cNvPr>
          <p:cNvCxnSpPr>
            <a:cxnSpLocks/>
            <a:stCxn id="71" idx="3"/>
            <a:endCxn id="41" idx="0"/>
          </p:cNvCxnSpPr>
          <p:nvPr/>
        </p:nvCxnSpPr>
        <p:spPr>
          <a:xfrm>
            <a:off x="4218432" y="2112057"/>
            <a:ext cx="4462137" cy="62951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14D25A40-0FF9-452C-8688-E31BCBCB0EEF}"/>
              </a:ext>
            </a:extLst>
          </p:cNvPr>
          <p:cNvSpPr txBox="1"/>
          <p:nvPr/>
        </p:nvSpPr>
        <p:spPr>
          <a:xfrm rot="466540">
            <a:off x="4463439" y="1986411"/>
            <a:ext cx="22878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textually references</a:t>
            </a:r>
          </a:p>
        </p:txBody>
      </p:sp>
      <p:sp>
        <p:nvSpPr>
          <p:cNvPr id="74" name="Speech Bubble: Rectangle with Corners Rounded 73">
            <a:extLst>
              <a:ext uri="{FF2B5EF4-FFF2-40B4-BE49-F238E27FC236}">
                <a16:creationId xmlns:a16="http://schemas.microsoft.com/office/drawing/2014/main" id="{8F458E7A-00F8-48B4-B85E-FEDE3A79ECB7}"/>
              </a:ext>
            </a:extLst>
          </p:cNvPr>
          <p:cNvSpPr/>
          <p:nvPr/>
        </p:nvSpPr>
        <p:spPr>
          <a:xfrm>
            <a:off x="562408" y="1490269"/>
            <a:ext cx="1423591" cy="851223"/>
          </a:xfrm>
          <a:prstGeom prst="wedgeRoundRectCallout">
            <a:avLst>
              <a:gd name="adj1" fmla="val 76233"/>
              <a:gd name="adj2" fmla="val 76913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Introduces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Functional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Perspective</a:t>
            </a:r>
          </a:p>
        </p:txBody>
      </p:sp>
      <p:sp>
        <p:nvSpPr>
          <p:cNvPr id="75" name="Speech Bubble: Rectangle with Corners Rounded 74">
            <a:extLst>
              <a:ext uri="{FF2B5EF4-FFF2-40B4-BE49-F238E27FC236}">
                <a16:creationId xmlns:a16="http://schemas.microsoft.com/office/drawing/2014/main" id="{D09758EB-B1D9-44E8-988C-27509F9F49DE}"/>
              </a:ext>
            </a:extLst>
          </p:cNvPr>
          <p:cNvSpPr/>
          <p:nvPr/>
        </p:nvSpPr>
        <p:spPr>
          <a:xfrm>
            <a:off x="454208" y="2631302"/>
            <a:ext cx="1423591" cy="851223"/>
          </a:xfrm>
          <a:prstGeom prst="wedgeRoundRectCallout">
            <a:avLst>
              <a:gd name="adj1" fmla="val 214715"/>
              <a:gd name="adj2" fmla="val -44306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Introduces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Physical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Perspective</a:t>
            </a:r>
          </a:p>
        </p:txBody>
      </p:sp>
    </p:spTree>
    <p:extLst>
      <p:ext uri="{BB962C8B-B14F-4D97-AF65-F5344CB8AC3E}">
        <p14:creationId xmlns:p14="http://schemas.microsoft.com/office/powerpoint/2010/main" val="25507571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 animBg="1"/>
      <p:bldP spid="67" grpId="0" animBg="1"/>
      <p:bldP spid="68" grpId="0" animBg="1"/>
      <p:bldP spid="71" grpId="0" animBg="1"/>
      <p:bldP spid="77" grpId="0"/>
      <p:bldP spid="79" grpId="0"/>
      <p:bldP spid="74" grpId="0" animBg="1"/>
      <p:bldP spid="7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5" y="237744"/>
            <a:ext cx="11418649" cy="758952"/>
          </a:xfrm>
        </p:spPr>
        <p:txBody>
          <a:bodyPr>
            <a:normAutofit fontScale="90000"/>
          </a:bodyPr>
          <a:lstStyle/>
          <a:p>
            <a:r>
              <a:rPr lang="en-US" dirty="0"/>
              <a:t>The RepositoryModel is the Table-of-Contents of the BIS Reposito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6667FA-4477-4853-8B6E-73AE67495E70}"/>
              </a:ext>
            </a:extLst>
          </p:cNvPr>
          <p:cNvSpPr txBox="1"/>
          <p:nvPr/>
        </p:nvSpPr>
        <p:spPr>
          <a:xfrm>
            <a:off x="9308595" y="337371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C3DC733-B9EA-4BDE-9056-F5B4C1E0B4B0}"/>
              </a:ext>
            </a:extLst>
          </p:cNvPr>
          <p:cNvSpPr txBox="1"/>
          <p:nvPr/>
        </p:nvSpPr>
        <p:spPr>
          <a:xfrm>
            <a:off x="10718349" y="431376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003A512-C78D-4585-98DA-9F23A18CA65F}"/>
              </a:ext>
            </a:extLst>
          </p:cNvPr>
          <p:cNvSpPr/>
          <p:nvPr/>
        </p:nvSpPr>
        <p:spPr>
          <a:xfrm>
            <a:off x="7538354" y="3267997"/>
            <a:ext cx="3097957" cy="2969336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143EA5-7747-4086-A255-4690C88D5144}"/>
              </a:ext>
            </a:extLst>
          </p:cNvPr>
          <p:cNvGrpSpPr/>
          <p:nvPr/>
        </p:nvGrpSpPr>
        <p:grpSpPr>
          <a:xfrm>
            <a:off x="8679230" y="2493713"/>
            <a:ext cx="1181417" cy="1114886"/>
            <a:chOff x="3094823" y="4030487"/>
            <a:chExt cx="2744314" cy="258976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B3DD72-FB28-4FD7-A83A-3995E319FBAD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6BDEE1D-40B3-4872-AD0D-B7FFD6580AA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8D32885-E7F9-4212-A642-E4168539E3F3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B304619-852E-41A9-9A3A-9E7C9A8EB376}"/>
              </a:ext>
            </a:extLst>
          </p:cNvPr>
          <p:cNvSpPr txBox="1"/>
          <p:nvPr/>
        </p:nvSpPr>
        <p:spPr>
          <a:xfrm>
            <a:off x="9719085" y="180916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776EE2C-C928-48EC-93A7-4D976A1886F4}"/>
              </a:ext>
            </a:extLst>
          </p:cNvPr>
          <p:cNvSpPr txBox="1"/>
          <p:nvPr/>
        </p:nvSpPr>
        <p:spPr>
          <a:xfrm>
            <a:off x="3347056" y="3140548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BA642D6C-6692-43A3-BD5B-43994681C532}"/>
              </a:ext>
            </a:extLst>
          </p:cNvPr>
          <p:cNvSpPr/>
          <p:nvPr/>
        </p:nvSpPr>
        <p:spPr>
          <a:xfrm>
            <a:off x="4835393" y="3300562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0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96EBE3D0-6B2B-4A80-B94F-19CD1A0DB0A4}"/>
              </a:ext>
            </a:extLst>
          </p:cNvPr>
          <p:cNvSpPr/>
          <p:nvPr/>
        </p:nvSpPr>
        <p:spPr>
          <a:xfrm>
            <a:off x="2481838" y="3300562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0</a:t>
            </a:r>
          </a:p>
        </p:txBody>
      </p: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CB3AF84-934A-4898-9F07-6B9BE9BCCCE3}"/>
              </a:ext>
            </a:extLst>
          </p:cNvPr>
          <p:cNvCxnSpPr>
            <a:cxnSpLocks/>
            <a:stCxn id="82" idx="3"/>
            <a:endCxn id="81" idx="1"/>
          </p:cNvCxnSpPr>
          <p:nvPr/>
        </p:nvCxnSpPr>
        <p:spPr>
          <a:xfrm>
            <a:off x="2925465" y="3453796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2471A43-F428-400B-8197-B93AE1946D45}"/>
              </a:ext>
            </a:extLst>
          </p:cNvPr>
          <p:cNvSpPr/>
          <p:nvPr/>
        </p:nvSpPr>
        <p:spPr>
          <a:xfrm>
            <a:off x="4435819" y="3170651"/>
            <a:ext cx="1251332" cy="624910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08668837-8979-4786-8B20-6C3C343054EA}"/>
              </a:ext>
            </a:extLst>
          </p:cNvPr>
          <p:cNvSpPr/>
          <p:nvPr/>
        </p:nvSpPr>
        <p:spPr>
          <a:xfrm>
            <a:off x="2077985" y="3167476"/>
            <a:ext cx="1251332" cy="628085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6FBDF38-B833-480C-A1E6-53DF4303E2BA}"/>
              </a:ext>
            </a:extLst>
          </p:cNvPr>
          <p:cNvSpPr txBox="1"/>
          <p:nvPr/>
        </p:nvSpPr>
        <p:spPr>
          <a:xfrm>
            <a:off x="2714991" y="383223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2B188DAD-393E-4B1A-B23D-426957446B9B}"/>
              </a:ext>
            </a:extLst>
          </p:cNvPr>
          <p:cNvCxnSpPr>
            <a:cxnSpLocks/>
            <a:stCxn id="196" idx="0"/>
            <a:endCxn id="82" idx="2"/>
          </p:cNvCxnSpPr>
          <p:nvPr/>
        </p:nvCxnSpPr>
        <p:spPr>
          <a:xfrm flipV="1">
            <a:off x="2703651" y="3607029"/>
            <a:ext cx="1" cy="641999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8070A4A5-3796-4B03-B379-90A59C7FFAD7}"/>
              </a:ext>
            </a:extLst>
          </p:cNvPr>
          <p:cNvSpPr txBox="1"/>
          <p:nvPr/>
        </p:nvSpPr>
        <p:spPr>
          <a:xfrm>
            <a:off x="5032397" y="379676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12D1AD1-9BAC-4B66-9C82-CC442857AB8B}"/>
              </a:ext>
            </a:extLst>
          </p:cNvPr>
          <p:cNvCxnSpPr>
            <a:cxnSpLocks/>
            <a:stCxn id="195" idx="0"/>
            <a:endCxn id="81" idx="2"/>
          </p:cNvCxnSpPr>
          <p:nvPr/>
        </p:nvCxnSpPr>
        <p:spPr>
          <a:xfrm flipV="1">
            <a:off x="5061485" y="3607029"/>
            <a:ext cx="1" cy="641999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CA99D101-03DA-464E-8C14-4F501E7D277B}"/>
              </a:ext>
            </a:extLst>
          </p:cNvPr>
          <p:cNvGrpSpPr/>
          <p:nvPr/>
        </p:nvGrpSpPr>
        <p:grpSpPr>
          <a:xfrm>
            <a:off x="8143777" y="3563971"/>
            <a:ext cx="1181417" cy="1114886"/>
            <a:chOff x="3094823" y="4030487"/>
            <a:chExt cx="2744314" cy="2589768"/>
          </a:xfrm>
        </p:grpSpPr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F26758D9-8D81-4DF2-A600-37A3215FED8F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C52D8A2D-2DA9-4CB5-9354-6A69C22DCB14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8EF2CC71-5D53-46EA-930C-E62183E1F20B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58877017-C9F8-4048-9D2F-63EE43944247}"/>
              </a:ext>
            </a:extLst>
          </p:cNvPr>
          <p:cNvSpPr txBox="1"/>
          <p:nvPr/>
        </p:nvSpPr>
        <p:spPr>
          <a:xfrm>
            <a:off x="3372127" y="4252811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931EDFB5-DD09-4C7B-9A72-4C12331CD005}"/>
              </a:ext>
            </a:extLst>
          </p:cNvPr>
          <p:cNvGrpSpPr/>
          <p:nvPr/>
        </p:nvGrpSpPr>
        <p:grpSpPr>
          <a:xfrm>
            <a:off x="7652555" y="5066633"/>
            <a:ext cx="1181417" cy="1114886"/>
            <a:chOff x="3094823" y="4030487"/>
            <a:chExt cx="2744314" cy="2589768"/>
          </a:xfrm>
        </p:grpSpPr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AE1CCC96-5E80-4673-890D-61AA733BA462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EAF0BBE6-22C0-449C-A08B-C65C8D8B37CE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4479A807-CE46-4706-887D-B0FA73E7DE10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84E3F6FB-9753-49B7-ADE7-5AA15375413E}"/>
              </a:ext>
            </a:extLst>
          </p:cNvPr>
          <p:cNvGrpSpPr/>
          <p:nvPr/>
        </p:nvGrpSpPr>
        <p:grpSpPr>
          <a:xfrm>
            <a:off x="9537468" y="4529652"/>
            <a:ext cx="1181417" cy="1114886"/>
            <a:chOff x="3094823" y="4030487"/>
            <a:chExt cx="2744314" cy="2589768"/>
          </a:xfrm>
        </p:grpSpPr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1AAB8F11-18D3-43DF-BB99-4A8591F67D18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A7810778-0C16-4C67-BEC1-7894D17AF517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FA91F3D4-5064-440C-BD9C-5A5EF3C64528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81" name="Rectangle: Rounded Corners 180">
            <a:extLst>
              <a:ext uri="{FF2B5EF4-FFF2-40B4-BE49-F238E27FC236}">
                <a16:creationId xmlns:a16="http://schemas.microsoft.com/office/drawing/2014/main" id="{D2312687-AA6A-456B-B951-A7A388E39B8D}"/>
              </a:ext>
            </a:extLst>
          </p:cNvPr>
          <p:cNvSpPr/>
          <p:nvPr/>
        </p:nvSpPr>
        <p:spPr>
          <a:xfrm>
            <a:off x="4835393" y="4422553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40F665F8-2B83-4911-9539-6FE14D86C168}"/>
              </a:ext>
            </a:extLst>
          </p:cNvPr>
          <p:cNvSpPr/>
          <p:nvPr/>
        </p:nvSpPr>
        <p:spPr>
          <a:xfrm>
            <a:off x="2481838" y="4422553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1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648B9B3C-5E92-44DE-AD33-0C45C4801C60}"/>
              </a:ext>
            </a:extLst>
          </p:cNvPr>
          <p:cNvCxnSpPr>
            <a:cxnSpLocks/>
            <a:stCxn id="182" idx="3"/>
            <a:endCxn id="181" idx="1"/>
          </p:cNvCxnSpPr>
          <p:nvPr/>
        </p:nvCxnSpPr>
        <p:spPr>
          <a:xfrm>
            <a:off x="2925465" y="4575787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C64CC1A8-D058-4591-97D9-868CDDFF9995}"/>
              </a:ext>
            </a:extLst>
          </p:cNvPr>
          <p:cNvSpPr txBox="1"/>
          <p:nvPr/>
        </p:nvSpPr>
        <p:spPr>
          <a:xfrm>
            <a:off x="3360512" y="5011740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85" name="Rectangle: Rounded Corners 184">
            <a:extLst>
              <a:ext uri="{FF2B5EF4-FFF2-40B4-BE49-F238E27FC236}">
                <a16:creationId xmlns:a16="http://schemas.microsoft.com/office/drawing/2014/main" id="{395EB5B4-74D2-46F9-80C3-B857E600A7BD}"/>
              </a:ext>
            </a:extLst>
          </p:cNvPr>
          <p:cNvSpPr/>
          <p:nvPr/>
        </p:nvSpPr>
        <p:spPr>
          <a:xfrm>
            <a:off x="4835393" y="5187664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2</a:t>
            </a:r>
          </a:p>
        </p:txBody>
      </p:sp>
      <p:sp>
        <p:nvSpPr>
          <p:cNvPr id="186" name="Rectangle: Rounded Corners 185">
            <a:extLst>
              <a:ext uri="{FF2B5EF4-FFF2-40B4-BE49-F238E27FC236}">
                <a16:creationId xmlns:a16="http://schemas.microsoft.com/office/drawing/2014/main" id="{7348A645-E3F0-44FE-A755-355EB34A10B4}"/>
              </a:ext>
            </a:extLst>
          </p:cNvPr>
          <p:cNvSpPr/>
          <p:nvPr/>
        </p:nvSpPr>
        <p:spPr>
          <a:xfrm>
            <a:off x="2481838" y="5187664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2</a:t>
            </a:r>
          </a:p>
        </p:txBody>
      </p:sp>
      <p:cxnSp>
        <p:nvCxnSpPr>
          <p:cNvPr id="187" name="Straight Arrow Connector 186">
            <a:extLst>
              <a:ext uri="{FF2B5EF4-FFF2-40B4-BE49-F238E27FC236}">
                <a16:creationId xmlns:a16="http://schemas.microsoft.com/office/drawing/2014/main" id="{20AE6500-7576-4EEB-A165-07700FEC8A8F}"/>
              </a:ext>
            </a:extLst>
          </p:cNvPr>
          <p:cNvCxnSpPr>
            <a:cxnSpLocks/>
            <a:stCxn id="186" idx="3"/>
            <a:endCxn id="185" idx="1"/>
          </p:cNvCxnSpPr>
          <p:nvPr/>
        </p:nvCxnSpPr>
        <p:spPr>
          <a:xfrm>
            <a:off x="2925465" y="5340898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id="{E4139AB1-E5B5-4A3F-98E6-FE90211640B8}"/>
              </a:ext>
            </a:extLst>
          </p:cNvPr>
          <p:cNvSpPr txBox="1"/>
          <p:nvPr/>
        </p:nvSpPr>
        <p:spPr>
          <a:xfrm>
            <a:off x="3372127" y="5497701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A027CD99-AF0D-44F9-8BDF-A1EF75B2D864}"/>
              </a:ext>
            </a:extLst>
          </p:cNvPr>
          <p:cNvSpPr/>
          <p:nvPr/>
        </p:nvSpPr>
        <p:spPr>
          <a:xfrm>
            <a:off x="4835393" y="5667443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3</a:t>
            </a:r>
          </a:p>
        </p:txBody>
      </p:sp>
      <p:sp>
        <p:nvSpPr>
          <p:cNvPr id="190" name="Rectangle: Rounded Corners 189">
            <a:extLst>
              <a:ext uri="{FF2B5EF4-FFF2-40B4-BE49-F238E27FC236}">
                <a16:creationId xmlns:a16="http://schemas.microsoft.com/office/drawing/2014/main" id="{E5AF9321-4925-4D31-B245-8DA676B6FA4D}"/>
              </a:ext>
            </a:extLst>
          </p:cNvPr>
          <p:cNvSpPr/>
          <p:nvPr/>
        </p:nvSpPr>
        <p:spPr>
          <a:xfrm>
            <a:off x="2481838" y="5667443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3</a:t>
            </a:r>
          </a:p>
        </p:txBody>
      </p: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C58AA510-3694-4359-88A3-94B286DFD297}"/>
              </a:ext>
            </a:extLst>
          </p:cNvPr>
          <p:cNvCxnSpPr>
            <a:cxnSpLocks/>
            <a:stCxn id="190" idx="3"/>
            <a:endCxn id="189" idx="1"/>
          </p:cNvCxnSpPr>
          <p:nvPr/>
        </p:nvCxnSpPr>
        <p:spPr>
          <a:xfrm>
            <a:off x="2925465" y="5820677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>
            <a:extLst>
              <a:ext uri="{FF2B5EF4-FFF2-40B4-BE49-F238E27FC236}">
                <a16:creationId xmlns:a16="http://schemas.microsoft.com/office/drawing/2014/main" id="{51D40823-2830-4C2C-AEFD-F6F4B67E98BC}"/>
              </a:ext>
            </a:extLst>
          </p:cNvPr>
          <p:cNvSpPr txBox="1"/>
          <p:nvPr/>
        </p:nvSpPr>
        <p:spPr>
          <a:xfrm>
            <a:off x="8462286" y="362899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D31E77A4-547B-47F9-9EE0-58BFABC444AD}"/>
              </a:ext>
            </a:extLst>
          </p:cNvPr>
          <p:cNvSpPr txBox="1"/>
          <p:nvPr/>
        </p:nvSpPr>
        <p:spPr>
          <a:xfrm>
            <a:off x="7968354" y="5127928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9FBBC1BF-CE8B-4FC7-B23E-D65DB3CF4CD5}"/>
              </a:ext>
            </a:extLst>
          </p:cNvPr>
          <p:cNvSpPr txBox="1"/>
          <p:nvPr/>
        </p:nvSpPr>
        <p:spPr>
          <a:xfrm>
            <a:off x="9872040" y="456904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05390FAB-FBCB-426F-889E-0B10A58F0158}"/>
              </a:ext>
            </a:extLst>
          </p:cNvPr>
          <p:cNvSpPr/>
          <p:nvPr/>
        </p:nvSpPr>
        <p:spPr>
          <a:xfrm>
            <a:off x="4435819" y="4249028"/>
            <a:ext cx="1251332" cy="1929481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Rectangle: Rounded Corners 195">
            <a:extLst>
              <a:ext uri="{FF2B5EF4-FFF2-40B4-BE49-F238E27FC236}">
                <a16:creationId xmlns:a16="http://schemas.microsoft.com/office/drawing/2014/main" id="{DD4DD6A5-A256-47C0-845A-E04F94113751}"/>
              </a:ext>
            </a:extLst>
          </p:cNvPr>
          <p:cNvSpPr/>
          <p:nvPr/>
        </p:nvSpPr>
        <p:spPr>
          <a:xfrm>
            <a:off x="2077985" y="4249028"/>
            <a:ext cx="1251332" cy="1929481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A58BA6A8-3849-4A7D-B93E-C9D6D202F879}"/>
              </a:ext>
            </a:extLst>
          </p:cNvPr>
          <p:cNvGrpSpPr/>
          <p:nvPr/>
        </p:nvGrpSpPr>
        <p:grpSpPr>
          <a:xfrm>
            <a:off x="7421438" y="1643291"/>
            <a:ext cx="3328289" cy="4629341"/>
            <a:chOff x="7421438" y="796949"/>
            <a:chExt cx="3328289" cy="5495363"/>
          </a:xfrm>
        </p:grpSpPr>
        <p:sp>
          <p:nvSpPr>
            <p:cNvPr id="200" name="Rectangle: Rounded Corners 199">
              <a:extLst>
                <a:ext uri="{FF2B5EF4-FFF2-40B4-BE49-F238E27FC236}">
                  <a16:creationId xmlns:a16="http://schemas.microsoft.com/office/drawing/2014/main" id="{8948C40A-E49A-4CF9-B4C4-EDE283FC0965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BDFDAF7D-3E05-4FE9-9C81-391152A87894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63EC54A0-7044-4793-99C1-7FA80F37DEC5}"/>
              </a:ext>
            </a:extLst>
          </p:cNvPr>
          <p:cNvGrpSpPr/>
          <p:nvPr/>
        </p:nvGrpSpPr>
        <p:grpSpPr>
          <a:xfrm>
            <a:off x="1760706" y="1037321"/>
            <a:ext cx="4157209" cy="5235311"/>
            <a:chOff x="196828" y="890805"/>
            <a:chExt cx="4523821" cy="5495363"/>
          </a:xfrm>
        </p:grpSpPr>
        <p:sp>
          <p:nvSpPr>
            <p:cNvPr id="203" name="Rectangle: Rounded Corners 202">
              <a:extLst>
                <a:ext uri="{FF2B5EF4-FFF2-40B4-BE49-F238E27FC236}">
                  <a16:creationId xmlns:a16="http://schemas.microsoft.com/office/drawing/2014/main" id="{E29EFFF4-5C18-40C7-8F0E-AEB0B70F2430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A1E91213-E445-40F3-8F1B-8C22A130FF58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205" name="TextBox 204">
            <a:extLst>
              <a:ext uri="{FF2B5EF4-FFF2-40B4-BE49-F238E27FC236}">
                <a16:creationId xmlns:a16="http://schemas.microsoft.com/office/drawing/2014/main" id="{58D6E74B-30B4-4155-B7FF-A9631E2BFDA2}"/>
              </a:ext>
            </a:extLst>
          </p:cNvPr>
          <p:cNvSpPr txBox="1"/>
          <p:nvPr/>
        </p:nvSpPr>
        <p:spPr>
          <a:xfrm>
            <a:off x="9006801" y="255532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E2AC47BD-BF65-4904-98E0-42050D32DEBE}"/>
              </a:ext>
            </a:extLst>
          </p:cNvPr>
          <p:cNvSpPr/>
          <p:nvPr/>
        </p:nvSpPr>
        <p:spPr>
          <a:xfrm>
            <a:off x="2133769" y="1761805"/>
            <a:ext cx="3446377" cy="1136247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A20A891-F484-4886-86EB-27C8816DE8F1}"/>
              </a:ext>
            </a:extLst>
          </p:cNvPr>
          <p:cNvSpPr/>
          <p:nvPr/>
        </p:nvSpPr>
        <p:spPr>
          <a:xfrm>
            <a:off x="2318082" y="2440704"/>
            <a:ext cx="1482374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 err="1"/>
              <a:t>FunctionalPartition</a:t>
            </a:r>
            <a:endParaRPr lang="en-US" sz="1200" dirty="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8C09C23C-97E6-454F-AB24-67E7A787C914}"/>
              </a:ext>
            </a:extLst>
          </p:cNvPr>
          <p:cNvSpPr/>
          <p:nvPr/>
        </p:nvSpPr>
        <p:spPr>
          <a:xfrm>
            <a:off x="4131610" y="2434258"/>
            <a:ext cx="1343483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PhysicalPartition</a:t>
            </a: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7B3484E6-A7E2-4F62-82BF-0275A33AE505}"/>
              </a:ext>
            </a:extLst>
          </p:cNvPr>
          <p:cNvCxnSpPr>
            <a:cxnSpLocks/>
            <a:stCxn id="85" idx="0"/>
            <a:endCxn id="67" idx="2"/>
          </p:cNvCxnSpPr>
          <p:nvPr/>
        </p:nvCxnSpPr>
        <p:spPr>
          <a:xfrm flipV="1">
            <a:off x="2703651" y="2747171"/>
            <a:ext cx="355618" cy="420305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E953055D-BAB4-4721-BC60-4007107FED31}"/>
              </a:ext>
            </a:extLst>
          </p:cNvPr>
          <p:cNvCxnSpPr>
            <a:cxnSpLocks/>
            <a:stCxn id="84" idx="0"/>
            <a:endCxn id="68" idx="2"/>
          </p:cNvCxnSpPr>
          <p:nvPr/>
        </p:nvCxnSpPr>
        <p:spPr>
          <a:xfrm flipH="1" flipV="1">
            <a:off x="4803352" y="2740725"/>
            <a:ext cx="258133" cy="429926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C713BBF5-8F38-48A3-900F-75BBBB4DC11B}"/>
              </a:ext>
            </a:extLst>
          </p:cNvPr>
          <p:cNvSpPr/>
          <p:nvPr/>
        </p:nvSpPr>
        <p:spPr>
          <a:xfrm>
            <a:off x="3495482" y="1958823"/>
            <a:ext cx="722950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Subject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2191C25B-2AB6-472C-A0D3-CF10B78830C0}"/>
              </a:ext>
            </a:extLst>
          </p:cNvPr>
          <p:cNvCxnSpPr>
            <a:cxnSpLocks/>
            <a:stCxn id="71" idx="2"/>
            <a:endCxn id="67" idx="0"/>
          </p:cNvCxnSpPr>
          <p:nvPr/>
        </p:nvCxnSpPr>
        <p:spPr>
          <a:xfrm flipH="1">
            <a:off x="3059269" y="2265290"/>
            <a:ext cx="797688" cy="175414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041248D-65E7-4E02-B8DC-A8D89445A7E7}"/>
              </a:ext>
            </a:extLst>
          </p:cNvPr>
          <p:cNvCxnSpPr>
            <a:cxnSpLocks/>
            <a:stCxn id="71" idx="2"/>
            <a:endCxn id="68" idx="0"/>
          </p:cNvCxnSpPr>
          <p:nvPr/>
        </p:nvCxnSpPr>
        <p:spPr>
          <a:xfrm>
            <a:off x="3856957" y="2265290"/>
            <a:ext cx="946395" cy="168968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97E13C32-02D3-46B9-8155-C2BE986C6A7D}"/>
              </a:ext>
            </a:extLst>
          </p:cNvPr>
          <p:cNvSpPr txBox="1"/>
          <p:nvPr/>
        </p:nvSpPr>
        <p:spPr>
          <a:xfrm>
            <a:off x="2970215" y="1469383"/>
            <a:ext cx="1738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50000"/>
                  </a:schemeClr>
                </a:solidFill>
              </a:rPr>
              <a:t>RepositoryModel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AE9F8968-EF87-4636-B6FA-D420F6A8CA30}"/>
              </a:ext>
            </a:extLst>
          </p:cNvPr>
          <p:cNvCxnSpPr>
            <a:cxnSpLocks/>
            <a:stCxn id="71" idx="3"/>
            <a:endCxn id="41" idx="0"/>
          </p:cNvCxnSpPr>
          <p:nvPr/>
        </p:nvCxnSpPr>
        <p:spPr>
          <a:xfrm>
            <a:off x="4218432" y="2112057"/>
            <a:ext cx="4462137" cy="62951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14D25A40-0FF9-452C-8688-E31BCBCB0EEF}"/>
              </a:ext>
            </a:extLst>
          </p:cNvPr>
          <p:cNvSpPr txBox="1"/>
          <p:nvPr/>
        </p:nvSpPr>
        <p:spPr>
          <a:xfrm rot="466540">
            <a:off x="4463439" y="1986411"/>
            <a:ext cx="22878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textually references</a:t>
            </a:r>
          </a:p>
        </p:txBody>
      </p:sp>
      <p:sp>
        <p:nvSpPr>
          <p:cNvPr id="74" name="Speech Bubble: Rectangle with Corners Rounded 73">
            <a:extLst>
              <a:ext uri="{FF2B5EF4-FFF2-40B4-BE49-F238E27FC236}">
                <a16:creationId xmlns:a16="http://schemas.microsoft.com/office/drawing/2014/main" id="{8F458E7A-00F8-48B4-B85E-FEDE3A79ECB7}"/>
              </a:ext>
            </a:extLst>
          </p:cNvPr>
          <p:cNvSpPr/>
          <p:nvPr/>
        </p:nvSpPr>
        <p:spPr>
          <a:xfrm>
            <a:off x="562408" y="1490269"/>
            <a:ext cx="1423591" cy="851223"/>
          </a:xfrm>
          <a:prstGeom prst="wedgeRoundRectCallout">
            <a:avLst>
              <a:gd name="adj1" fmla="val 76233"/>
              <a:gd name="adj2" fmla="val 76913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Introduces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Functional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Perspective</a:t>
            </a:r>
          </a:p>
        </p:txBody>
      </p:sp>
      <p:sp>
        <p:nvSpPr>
          <p:cNvPr id="75" name="Speech Bubble: Rectangle with Corners Rounded 74">
            <a:extLst>
              <a:ext uri="{FF2B5EF4-FFF2-40B4-BE49-F238E27FC236}">
                <a16:creationId xmlns:a16="http://schemas.microsoft.com/office/drawing/2014/main" id="{D09758EB-B1D9-44E8-988C-27509F9F49DE}"/>
              </a:ext>
            </a:extLst>
          </p:cNvPr>
          <p:cNvSpPr/>
          <p:nvPr/>
        </p:nvSpPr>
        <p:spPr>
          <a:xfrm>
            <a:off x="454208" y="2631302"/>
            <a:ext cx="1423591" cy="851223"/>
          </a:xfrm>
          <a:prstGeom prst="wedgeRoundRectCallout">
            <a:avLst>
              <a:gd name="adj1" fmla="val 214715"/>
              <a:gd name="adj2" fmla="val -44306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Introduces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Physical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Perspective</a:t>
            </a:r>
          </a:p>
        </p:txBody>
      </p:sp>
    </p:spTree>
    <p:extLst>
      <p:ext uri="{BB962C8B-B14F-4D97-AF65-F5344CB8AC3E}">
        <p14:creationId xmlns:p14="http://schemas.microsoft.com/office/powerpoint/2010/main" val="8390620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 animBg="1"/>
      <p:bldP spid="67" grpId="0" animBg="1"/>
      <p:bldP spid="68" grpId="0" animBg="1"/>
      <p:bldP spid="71" grpId="0" animBg="1"/>
      <p:bldP spid="77" grpId="0"/>
      <p:bldP spid="79" grpId="0"/>
      <p:bldP spid="74" grpId="0" animBg="1"/>
      <p:bldP spid="7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Box 85">
            <a:extLst>
              <a:ext uri="{FF2B5EF4-FFF2-40B4-BE49-F238E27FC236}">
                <a16:creationId xmlns:a16="http://schemas.microsoft.com/office/drawing/2014/main" id="{E972BC90-D2B7-4B59-9B90-D3D4F5CD1963}"/>
              </a:ext>
            </a:extLst>
          </p:cNvPr>
          <p:cNvSpPr txBox="1"/>
          <p:nvPr/>
        </p:nvSpPr>
        <p:spPr>
          <a:xfrm>
            <a:off x="2679084" y="4736915"/>
            <a:ext cx="5993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hild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D01315DB-AE6D-478C-B6E3-09B60C62326E}"/>
              </a:ext>
            </a:extLst>
          </p:cNvPr>
          <p:cNvSpPr txBox="1"/>
          <p:nvPr/>
        </p:nvSpPr>
        <p:spPr>
          <a:xfrm>
            <a:off x="5024428" y="4736915"/>
            <a:ext cx="5993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hild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lementHasChildElement</a:t>
            </a:r>
            <a:r>
              <a:rPr lang="en-US" dirty="0"/>
              <a:t> Relationship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6667FA-4477-4853-8B6E-73AE67495E70}"/>
              </a:ext>
            </a:extLst>
          </p:cNvPr>
          <p:cNvSpPr txBox="1"/>
          <p:nvPr/>
        </p:nvSpPr>
        <p:spPr>
          <a:xfrm>
            <a:off x="9308595" y="337371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C3DC733-B9EA-4BDE-9056-F5B4C1E0B4B0}"/>
              </a:ext>
            </a:extLst>
          </p:cNvPr>
          <p:cNvSpPr txBox="1"/>
          <p:nvPr/>
        </p:nvSpPr>
        <p:spPr>
          <a:xfrm>
            <a:off x="10718349" y="431376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003A512-C78D-4585-98DA-9F23A18CA65F}"/>
              </a:ext>
            </a:extLst>
          </p:cNvPr>
          <p:cNvSpPr/>
          <p:nvPr/>
        </p:nvSpPr>
        <p:spPr>
          <a:xfrm>
            <a:off x="7538354" y="3267997"/>
            <a:ext cx="3097957" cy="2969336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143EA5-7747-4086-A255-4690C88D5144}"/>
              </a:ext>
            </a:extLst>
          </p:cNvPr>
          <p:cNvGrpSpPr/>
          <p:nvPr/>
        </p:nvGrpSpPr>
        <p:grpSpPr>
          <a:xfrm>
            <a:off x="8679230" y="2493713"/>
            <a:ext cx="1181417" cy="1114886"/>
            <a:chOff x="3094823" y="4030487"/>
            <a:chExt cx="2744314" cy="258976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B3DD72-FB28-4FD7-A83A-3995E319FBAD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6BDEE1D-40B3-4872-AD0D-B7FFD6580AA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8D32885-E7F9-4212-A642-E4168539E3F3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B304619-852E-41A9-9A3A-9E7C9A8EB376}"/>
              </a:ext>
            </a:extLst>
          </p:cNvPr>
          <p:cNvSpPr txBox="1"/>
          <p:nvPr/>
        </p:nvSpPr>
        <p:spPr>
          <a:xfrm>
            <a:off x="9719085" y="180916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776EE2C-C928-48EC-93A7-4D976A1886F4}"/>
              </a:ext>
            </a:extLst>
          </p:cNvPr>
          <p:cNvSpPr txBox="1"/>
          <p:nvPr/>
        </p:nvSpPr>
        <p:spPr>
          <a:xfrm>
            <a:off x="3347056" y="3140548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BA642D6C-6692-43A3-BD5B-43994681C532}"/>
              </a:ext>
            </a:extLst>
          </p:cNvPr>
          <p:cNvSpPr/>
          <p:nvPr/>
        </p:nvSpPr>
        <p:spPr>
          <a:xfrm>
            <a:off x="4835393" y="3300562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0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96EBE3D0-6B2B-4A80-B94F-19CD1A0DB0A4}"/>
              </a:ext>
            </a:extLst>
          </p:cNvPr>
          <p:cNvSpPr/>
          <p:nvPr/>
        </p:nvSpPr>
        <p:spPr>
          <a:xfrm>
            <a:off x="2481838" y="3300562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0</a:t>
            </a:r>
          </a:p>
        </p:txBody>
      </p: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CB3AF84-934A-4898-9F07-6B9BE9BCCCE3}"/>
              </a:ext>
            </a:extLst>
          </p:cNvPr>
          <p:cNvCxnSpPr>
            <a:cxnSpLocks/>
            <a:stCxn id="82" idx="3"/>
            <a:endCxn id="81" idx="1"/>
          </p:cNvCxnSpPr>
          <p:nvPr/>
        </p:nvCxnSpPr>
        <p:spPr>
          <a:xfrm>
            <a:off x="2925465" y="3453796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2471A43-F428-400B-8197-B93AE1946D45}"/>
              </a:ext>
            </a:extLst>
          </p:cNvPr>
          <p:cNvSpPr/>
          <p:nvPr/>
        </p:nvSpPr>
        <p:spPr>
          <a:xfrm>
            <a:off x="4435819" y="3170651"/>
            <a:ext cx="1251332" cy="624910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08668837-8979-4786-8B20-6C3C343054EA}"/>
              </a:ext>
            </a:extLst>
          </p:cNvPr>
          <p:cNvSpPr/>
          <p:nvPr/>
        </p:nvSpPr>
        <p:spPr>
          <a:xfrm>
            <a:off x="2077985" y="3167476"/>
            <a:ext cx="1251332" cy="628085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6FBDF38-B833-480C-A1E6-53DF4303E2BA}"/>
              </a:ext>
            </a:extLst>
          </p:cNvPr>
          <p:cNvSpPr txBox="1"/>
          <p:nvPr/>
        </p:nvSpPr>
        <p:spPr>
          <a:xfrm>
            <a:off x="2714991" y="383223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2B188DAD-393E-4B1A-B23D-426957446B9B}"/>
              </a:ext>
            </a:extLst>
          </p:cNvPr>
          <p:cNvCxnSpPr>
            <a:cxnSpLocks/>
            <a:stCxn id="196" idx="0"/>
            <a:endCxn id="82" idx="2"/>
          </p:cNvCxnSpPr>
          <p:nvPr/>
        </p:nvCxnSpPr>
        <p:spPr>
          <a:xfrm flipV="1">
            <a:off x="2703651" y="3607029"/>
            <a:ext cx="1" cy="641999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8070A4A5-3796-4B03-B379-90A59C7FFAD7}"/>
              </a:ext>
            </a:extLst>
          </p:cNvPr>
          <p:cNvSpPr txBox="1"/>
          <p:nvPr/>
        </p:nvSpPr>
        <p:spPr>
          <a:xfrm>
            <a:off x="5032397" y="379676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12D1AD1-9BAC-4B66-9C82-CC442857AB8B}"/>
              </a:ext>
            </a:extLst>
          </p:cNvPr>
          <p:cNvCxnSpPr>
            <a:cxnSpLocks/>
            <a:stCxn id="195" idx="0"/>
            <a:endCxn id="81" idx="2"/>
          </p:cNvCxnSpPr>
          <p:nvPr/>
        </p:nvCxnSpPr>
        <p:spPr>
          <a:xfrm flipV="1">
            <a:off x="5061485" y="3607029"/>
            <a:ext cx="1" cy="641999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CA99D101-03DA-464E-8C14-4F501E7D277B}"/>
              </a:ext>
            </a:extLst>
          </p:cNvPr>
          <p:cNvGrpSpPr/>
          <p:nvPr/>
        </p:nvGrpSpPr>
        <p:grpSpPr>
          <a:xfrm>
            <a:off x="8143777" y="3563971"/>
            <a:ext cx="1181417" cy="1114886"/>
            <a:chOff x="3094823" y="4030487"/>
            <a:chExt cx="2744314" cy="2589768"/>
          </a:xfrm>
        </p:grpSpPr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F26758D9-8D81-4DF2-A600-37A3215FED8F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C52D8A2D-2DA9-4CB5-9354-6A69C22DCB14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8EF2CC71-5D53-46EA-930C-E62183E1F20B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58877017-C9F8-4048-9D2F-63EE43944247}"/>
              </a:ext>
            </a:extLst>
          </p:cNvPr>
          <p:cNvSpPr txBox="1"/>
          <p:nvPr/>
        </p:nvSpPr>
        <p:spPr>
          <a:xfrm>
            <a:off x="3372127" y="4252811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931EDFB5-DD09-4C7B-9A72-4C12331CD005}"/>
              </a:ext>
            </a:extLst>
          </p:cNvPr>
          <p:cNvGrpSpPr/>
          <p:nvPr/>
        </p:nvGrpSpPr>
        <p:grpSpPr>
          <a:xfrm>
            <a:off x="7652555" y="5066633"/>
            <a:ext cx="1181417" cy="1114886"/>
            <a:chOff x="3094823" y="4030487"/>
            <a:chExt cx="2744314" cy="2589768"/>
          </a:xfrm>
        </p:grpSpPr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AE1CCC96-5E80-4673-890D-61AA733BA462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EAF0BBE6-22C0-449C-A08B-C65C8D8B37CE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4479A807-CE46-4706-887D-B0FA73E7DE10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84E3F6FB-9753-49B7-ADE7-5AA15375413E}"/>
              </a:ext>
            </a:extLst>
          </p:cNvPr>
          <p:cNvGrpSpPr/>
          <p:nvPr/>
        </p:nvGrpSpPr>
        <p:grpSpPr>
          <a:xfrm>
            <a:off x="9537468" y="4529652"/>
            <a:ext cx="1181417" cy="1114886"/>
            <a:chOff x="3094823" y="4030487"/>
            <a:chExt cx="2744314" cy="2589768"/>
          </a:xfrm>
        </p:grpSpPr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1AAB8F11-18D3-43DF-BB99-4A8591F67D18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A7810778-0C16-4C67-BEC1-7894D17AF517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FA91F3D4-5064-440C-BD9C-5A5EF3C64528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81" name="Rectangle: Rounded Corners 180">
            <a:extLst>
              <a:ext uri="{FF2B5EF4-FFF2-40B4-BE49-F238E27FC236}">
                <a16:creationId xmlns:a16="http://schemas.microsoft.com/office/drawing/2014/main" id="{D2312687-AA6A-456B-B951-A7A388E39B8D}"/>
              </a:ext>
            </a:extLst>
          </p:cNvPr>
          <p:cNvSpPr/>
          <p:nvPr/>
        </p:nvSpPr>
        <p:spPr>
          <a:xfrm>
            <a:off x="4835393" y="4422553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40F665F8-2B83-4911-9539-6FE14D86C168}"/>
              </a:ext>
            </a:extLst>
          </p:cNvPr>
          <p:cNvSpPr/>
          <p:nvPr/>
        </p:nvSpPr>
        <p:spPr>
          <a:xfrm>
            <a:off x="2481838" y="4422553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1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648B9B3C-5E92-44DE-AD33-0C45C4801C60}"/>
              </a:ext>
            </a:extLst>
          </p:cNvPr>
          <p:cNvCxnSpPr>
            <a:cxnSpLocks/>
            <a:stCxn id="182" idx="3"/>
            <a:endCxn id="181" idx="1"/>
          </p:cNvCxnSpPr>
          <p:nvPr/>
        </p:nvCxnSpPr>
        <p:spPr>
          <a:xfrm>
            <a:off x="2925465" y="4575787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C64CC1A8-D058-4591-97D9-868CDDFF9995}"/>
              </a:ext>
            </a:extLst>
          </p:cNvPr>
          <p:cNvSpPr txBox="1"/>
          <p:nvPr/>
        </p:nvSpPr>
        <p:spPr>
          <a:xfrm>
            <a:off x="3360512" y="5011740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85" name="Rectangle: Rounded Corners 184">
            <a:extLst>
              <a:ext uri="{FF2B5EF4-FFF2-40B4-BE49-F238E27FC236}">
                <a16:creationId xmlns:a16="http://schemas.microsoft.com/office/drawing/2014/main" id="{395EB5B4-74D2-46F9-80C3-B857E600A7BD}"/>
              </a:ext>
            </a:extLst>
          </p:cNvPr>
          <p:cNvSpPr/>
          <p:nvPr/>
        </p:nvSpPr>
        <p:spPr>
          <a:xfrm>
            <a:off x="4835393" y="5187664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2</a:t>
            </a:r>
          </a:p>
        </p:txBody>
      </p:sp>
      <p:sp>
        <p:nvSpPr>
          <p:cNvPr id="186" name="Rectangle: Rounded Corners 185">
            <a:extLst>
              <a:ext uri="{FF2B5EF4-FFF2-40B4-BE49-F238E27FC236}">
                <a16:creationId xmlns:a16="http://schemas.microsoft.com/office/drawing/2014/main" id="{7348A645-E3F0-44FE-A755-355EB34A10B4}"/>
              </a:ext>
            </a:extLst>
          </p:cNvPr>
          <p:cNvSpPr/>
          <p:nvPr/>
        </p:nvSpPr>
        <p:spPr>
          <a:xfrm>
            <a:off x="2481838" y="5187664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2</a:t>
            </a:r>
          </a:p>
        </p:txBody>
      </p:sp>
      <p:cxnSp>
        <p:nvCxnSpPr>
          <p:cNvPr id="187" name="Straight Arrow Connector 186">
            <a:extLst>
              <a:ext uri="{FF2B5EF4-FFF2-40B4-BE49-F238E27FC236}">
                <a16:creationId xmlns:a16="http://schemas.microsoft.com/office/drawing/2014/main" id="{20AE6500-7576-4EEB-A165-07700FEC8A8F}"/>
              </a:ext>
            </a:extLst>
          </p:cNvPr>
          <p:cNvCxnSpPr>
            <a:cxnSpLocks/>
            <a:stCxn id="186" idx="3"/>
            <a:endCxn id="185" idx="1"/>
          </p:cNvCxnSpPr>
          <p:nvPr/>
        </p:nvCxnSpPr>
        <p:spPr>
          <a:xfrm>
            <a:off x="2925465" y="5340898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id="{E4139AB1-E5B5-4A3F-98E6-FE90211640B8}"/>
              </a:ext>
            </a:extLst>
          </p:cNvPr>
          <p:cNvSpPr txBox="1"/>
          <p:nvPr/>
        </p:nvSpPr>
        <p:spPr>
          <a:xfrm>
            <a:off x="3372127" y="5497701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A027CD99-AF0D-44F9-8BDF-A1EF75B2D864}"/>
              </a:ext>
            </a:extLst>
          </p:cNvPr>
          <p:cNvSpPr/>
          <p:nvPr/>
        </p:nvSpPr>
        <p:spPr>
          <a:xfrm>
            <a:off x="4835393" y="5667443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3</a:t>
            </a:r>
          </a:p>
        </p:txBody>
      </p:sp>
      <p:sp>
        <p:nvSpPr>
          <p:cNvPr id="190" name="Rectangle: Rounded Corners 189">
            <a:extLst>
              <a:ext uri="{FF2B5EF4-FFF2-40B4-BE49-F238E27FC236}">
                <a16:creationId xmlns:a16="http://schemas.microsoft.com/office/drawing/2014/main" id="{E5AF9321-4925-4D31-B245-8DA676B6FA4D}"/>
              </a:ext>
            </a:extLst>
          </p:cNvPr>
          <p:cNvSpPr/>
          <p:nvPr/>
        </p:nvSpPr>
        <p:spPr>
          <a:xfrm>
            <a:off x="2481838" y="5667443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3</a:t>
            </a:r>
          </a:p>
        </p:txBody>
      </p: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C58AA510-3694-4359-88A3-94B286DFD297}"/>
              </a:ext>
            </a:extLst>
          </p:cNvPr>
          <p:cNvCxnSpPr>
            <a:cxnSpLocks/>
            <a:stCxn id="190" idx="3"/>
            <a:endCxn id="189" idx="1"/>
          </p:cNvCxnSpPr>
          <p:nvPr/>
        </p:nvCxnSpPr>
        <p:spPr>
          <a:xfrm>
            <a:off x="2925465" y="5820677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>
            <a:extLst>
              <a:ext uri="{FF2B5EF4-FFF2-40B4-BE49-F238E27FC236}">
                <a16:creationId xmlns:a16="http://schemas.microsoft.com/office/drawing/2014/main" id="{51D40823-2830-4C2C-AEFD-F6F4B67E98BC}"/>
              </a:ext>
            </a:extLst>
          </p:cNvPr>
          <p:cNvSpPr txBox="1"/>
          <p:nvPr/>
        </p:nvSpPr>
        <p:spPr>
          <a:xfrm>
            <a:off x="8462286" y="362899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D31E77A4-547B-47F9-9EE0-58BFABC444AD}"/>
              </a:ext>
            </a:extLst>
          </p:cNvPr>
          <p:cNvSpPr txBox="1"/>
          <p:nvPr/>
        </p:nvSpPr>
        <p:spPr>
          <a:xfrm>
            <a:off x="7968354" y="5127928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9FBBC1BF-CE8B-4FC7-B23E-D65DB3CF4CD5}"/>
              </a:ext>
            </a:extLst>
          </p:cNvPr>
          <p:cNvSpPr txBox="1"/>
          <p:nvPr/>
        </p:nvSpPr>
        <p:spPr>
          <a:xfrm>
            <a:off x="9872040" y="456904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05390FAB-FBCB-426F-889E-0B10A58F0158}"/>
              </a:ext>
            </a:extLst>
          </p:cNvPr>
          <p:cNvSpPr/>
          <p:nvPr/>
        </p:nvSpPr>
        <p:spPr>
          <a:xfrm>
            <a:off x="4435819" y="4249028"/>
            <a:ext cx="1251332" cy="1929481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Rectangle: Rounded Corners 195">
            <a:extLst>
              <a:ext uri="{FF2B5EF4-FFF2-40B4-BE49-F238E27FC236}">
                <a16:creationId xmlns:a16="http://schemas.microsoft.com/office/drawing/2014/main" id="{DD4DD6A5-A256-47C0-845A-E04F94113751}"/>
              </a:ext>
            </a:extLst>
          </p:cNvPr>
          <p:cNvSpPr/>
          <p:nvPr/>
        </p:nvSpPr>
        <p:spPr>
          <a:xfrm>
            <a:off x="2077985" y="4249028"/>
            <a:ext cx="1251332" cy="1929481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A58BA6A8-3849-4A7D-B93E-C9D6D202F879}"/>
              </a:ext>
            </a:extLst>
          </p:cNvPr>
          <p:cNvGrpSpPr/>
          <p:nvPr/>
        </p:nvGrpSpPr>
        <p:grpSpPr>
          <a:xfrm>
            <a:off x="7421438" y="1643291"/>
            <a:ext cx="3328289" cy="4629341"/>
            <a:chOff x="7421438" y="796949"/>
            <a:chExt cx="3328289" cy="5495363"/>
          </a:xfrm>
        </p:grpSpPr>
        <p:sp>
          <p:nvSpPr>
            <p:cNvPr id="200" name="Rectangle: Rounded Corners 199">
              <a:extLst>
                <a:ext uri="{FF2B5EF4-FFF2-40B4-BE49-F238E27FC236}">
                  <a16:creationId xmlns:a16="http://schemas.microsoft.com/office/drawing/2014/main" id="{8948C40A-E49A-4CF9-B4C4-EDE283FC0965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BDFDAF7D-3E05-4FE9-9C81-391152A87894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63EC54A0-7044-4793-99C1-7FA80F37DEC5}"/>
              </a:ext>
            </a:extLst>
          </p:cNvPr>
          <p:cNvGrpSpPr/>
          <p:nvPr/>
        </p:nvGrpSpPr>
        <p:grpSpPr>
          <a:xfrm>
            <a:off x="1760706" y="1037321"/>
            <a:ext cx="4157209" cy="5235311"/>
            <a:chOff x="196828" y="890805"/>
            <a:chExt cx="4523821" cy="5495363"/>
          </a:xfrm>
        </p:grpSpPr>
        <p:sp>
          <p:nvSpPr>
            <p:cNvPr id="203" name="Rectangle: Rounded Corners 202">
              <a:extLst>
                <a:ext uri="{FF2B5EF4-FFF2-40B4-BE49-F238E27FC236}">
                  <a16:creationId xmlns:a16="http://schemas.microsoft.com/office/drawing/2014/main" id="{E29EFFF4-5C18-40C7-8F0E-AEB0B70F2430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A1E91213-E445-40F3-8F1B-8C22A130FF58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205" name="TextBox 204">
            <a:extLst>
              <a:ext uri="{FF2B5EF4-FFF2-40B4-BE49-F238E27FC236}">
                <a16:creationId xmlns:a16="http://schemas.microsoft.com/office/drawing/2014/main" id="{58D6E74B-30B4-4155-B7FF-A9631E2BFDA2}"/>
              </a:ext>
            </a:extLst>
          </p:cNvPr>
          <p:cNvSpPr txBox="1"/>
          <p:nvPr/>
        </p:nvSpPr>
        <p:spPr>
          <a:xfrm>
            <a:off x="9006801" y="255532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E2AC47BD-BF65-4904-98E0-42050D32DEBE}"/>
              </a:ext>
            </a:extLst>
          </p:cNvPr>
          <p:cNvSpPr/>
          <p:nvPr/>
        </p:nvSpPr>
        <p:spPr>
          <a:xfrm>
            <a:off x="2133769" y="1761805"/>
            <a:ext cx="3446377" cy="1136247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A20A891-F484-4886-86EB-27C8816DE8F1}"/>
              </a:ext>
            </a:extLst>
          </p:cNvPr>
          <p:cNvSpPr/>
          <p:nvPr/>
        </p:nvSpPr>
        <p:spPr>
          <a:xfrm>
            <a:off x="2318082" y="2440704"/>
            <a:ext cx="1482374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 err="1"/>
              <a:t>FunctionalPartition</a:t>
            </a:r>
            <a:endParaRPr lang="en-US" sz="1200" dirty="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8C09C23C-97E6-454F-AB24-67E7A787C914}"/>
              </a:ext>
            </a:extLst>
          </p:cNvPr>
          <p:cNvSpPr/>
          <p:nvPr/>
        </p:nvSpPr>
        <p:spPr>
          <a:xfrm>
            <a:off x="4131610" y="2434258"/>
            <a:ext cx="1343483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PhysicalPartition</a:t>
            </a: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7B3484E6-A7E2-4F62-82BF-0275A33AE505}"/>
              </a:ext>
            </a:extLst>
          </p:cNvPr>
          <p:cNvCxnSpPr>
            <a:cxnSpLocks/>
            <a:stCxn id="85" idx="0"/>
            <a:endCxn id="67" idx="2"/>
          </p:cNvCxnSpPr>
          <p:nvPr/>
        </p:nvCxnSpPr>
        <p:spPr>
          <a:xfrm flipV="1">
            <a:off x="2703651" y="2747171"/>
            <a:ext cx="355618" cy="420305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E953055D-BAB4-4721-BC60-4007107FED31}"/>
              </a:ext>
            </a:extLst>
          </p:cNvPr>
          <p:cNvCxnSpPr>
            <a:cxnSpLocks/>
            <a:stCxn id="84" idx="0"/>
            <a:endCxn id="68" idx="2"/>
          </p:cNvCxnSpPr>
          <p:nvPr/>
        </p:nvCxnSpPr>
        <p:spPr>
          <a:xfrm flipH="1" flipV="1">
            <a:off x="4803352" y="2740725"/>
            <a:ext cx="258133" cy="429926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C713BBF5-8F38-48A3-900F-75BBBB4DC11B}"/>
              </a:ext>
            </a:extLst>
          </p:cNvPr>
          <p:cNvSpPr/>
          <p:nvPr/>
        </p:nvSpPr>
        <p:spPr>
          <a:xfrm>
            <a:off x="3495482" y="1958823"/>
            <a:ext cx="722950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Subject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2191C25B-2AB6-472C-A0D3-CF10B78830C0}"/>
              </a:ext>
            </a:extLst>
          </p:cNvPr>
          <p:cNvCxnSpPr>
            <a:cxnSpLocks/>
            <a:stCxn id="71" idx="2"/>
            <a:endCxn id="67" idx="0"/>
          </p:cNvCxnSpPr>
          <p:nvPr/>
        </p:nvCxnSpPr>
        <p:spPr>
          <a:xfrm flipH="1">
            <a:off x="3059269" y="2265290"/>
            <a:ext cx="797688" cy="175414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041248D-65E7-4E02-B8DC-A8D89445A7E7}"/>
              </a:ext>
            </a:extLst>
          </p:cNvPr>
          <p:cNvCxnSpPr>
            <a:cxnSpLocks/>
            <a:stCxn id="71" idx="2"/>
            <a:endCxn id="68" idx="0"/>
          </p:cNvCxnSpPr>
          <p:nvPr/>
        </p:nvCxnSpPr>
        <p:spPr>
          <a:xfrm>
            <a:off x="3856957" y="2265290"/>
            <a:ext cx="946395" cy="168968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97E13C32-02D3-46B9-8155-C2BE986C6A7D}"/>
              </a:ext>
            </a:extLst>
          </p:cNvPr>
          <p:cNvSpPr txBox="1"/>
          <p:nvPr/>
        </p:nvSpPr>
        <p:spPr>
          <a:xfrm>
            <a:off x="2970215" y="1469383"/>
            <a:ext cx="1738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50000"/>
                  </a:schemeClr>
                </a:solidFill>
              </a:rPr>
              <a:t>RepositoryModel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AE9F8968-EF87-4636-B6FA-D420F6A8CA30}"/>
              </a:ext>
            </a:extLst>
          </p:cNvPr>
          <p:cNvCxnSpPr>
            <a:cxnSpLocks/>
            <a:stCxn id="71" idx="3"/>
            <a:endCxn id="41" idx="0"/>
          </p:cNvCxnSpPr>
          <p:nvPr/>
        </p:nvCxnSpPr>
        <p:spPr>
          <a:xfrm>
            <a:off x="4218432" y="2112057"/>
            <a:ext cx="4462137" cy="62951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14D25A40-0FF9-452C-8688-E31BCBCB0EEF}"/>
              </a:ext>
            </a:extLst>
          </p:cNvPr>
          <p:cNvSpPr txBox="1"/>
          <p:nvPr/>
        </p:nvSpPr>
        <p:spPr>
          <a:xfrm rot="466540">
            <a:off x="4463439" y="1986411"/>
            <a:ext cx="22878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textually references</a:t>
            </a: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EDA5FE00-6715-4C9B-A344-EF7B95715A74}"/>
              </a:ext>
            </a:extLst>
          </p:cNvPr>
          <p:cNvCxnSpPr>
            <a:cxnSpLocks/>
          </p:cNvCxnSpPr>
          <p:nvPr/>
        </p:nvCxnSpPr>
        <p:spPr>
          <a:xfrm>
            <a:off x="9134107" y="4049581"/>
            <a:ext cx="624517" cy="650411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3D8F7FD9-2F84-4725-B697-05D128FC2B22}"/>
              </a:ext>
            </a:extLst>
          </p:cNvPr>
          <p:cNvSpPr txBox="1"/>
          <p:nvPr/>
        </p:nvSpPr>
        <p:spPr>
          <a:xfrm>
            <a:off x="9379827" y="4083534"/>
            <a:ext cx="5993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hild</a:t>
            </a: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E08109CC-20E4-4B37-BBB5-4D699F8981E5}"/>
              </a:ext>
            </a:extLst>
          </p:cNvPr>
          <p:cNvCxnSpPr>
            <a:cxnSpLocks/>
            <a:stCxn id="182" idx="2"/>
            <a:endCxn id="186" idx="0"/>
          </p:cNvCxnSpPr>
          <p:nvPr/>
        </p:nvCxnSpPr>
        <p:spPr>
          <a:xfrm>
            <a:off x="2703652" y="4729020"/>
            <a:ext cx="0" cy="458644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75C7D2BE-D29D-482B-9FA2-3786F71B2E1B}"/>
              </a:ext>
            </a:extLst>
          </p:cNvPr>
          <p:cNvCxnSpPr>
            <a:cxnSpLocks/>
            <a:stCxn id="181" idx="2"/>
            <a:endCxn id="185" idx="0"/>
          </p:cNvCxnSpPr>
          <p:nvPr/>
        </p:nvCxnSpPr>
        <p:spPr>
          <a:xfrm>
            <a:off x="5061486" y="4729020"/>
            <a:ext cx="0" cy="458644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1052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  <p:bldP spid="92" grpId="0"/>
      <p:bldP spid="7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Granularities ad infinitu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6667FA-4477-4853-8B6E-73AE67495E70}"/>
              </a:ext>
            </a:extLst>
          </p:cNvPr>
          <p:cNvSpPr txBox="1"/>
          <p:nvPr/>
        </p:nvSpPr>
        <p:spPr>
          <a:xfrm>
            <a:off x="9308595" y="215662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C3DC733-B9EA-4BDE-9056-F5B4C1E0B4B0}"/>
              </a:ext>
            </a:extLst>
          </p:cNvPr>
          <p:cNvSpPr txBox="1"/>
          <p:nvPr/>
        </p:nvSpPr>
        <p:spPr>
          <a:xfrm>
            <a:off x="10718349" y="309667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003A512-C78D-4585-98DA-9F23A18CA65F}"/>
              </a:ext>
            </a:extLst>
          </p:cNvPr>
          <p:cNvSpPr/>
          <p:nvPr/>
        </p:nvSpPr>
        <p:spPr>
          <a:xfrm>
            <a:off x="7538354" y="2050907"/>
            <a:ext cx="3097957" cy="2969336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143EA5-7747-4086-A255-4690C88D5144}"/>
              </a:ext>
            </a:extLst>
          </p:cNvPr>
          <p:cNvGrpSpPr/>
          <p:nvPr/>
        </p:nvGrpSpPr>
        <p:grpSpPr>
          <a:xfrm>
            <a:off x="8679230" y="1276623"/>
            <a:ext cx="1181417" cy="1114886"/>
            <a:chOff x="3094823" y="4030487"/>
            <a:chExt cx="2744314" cy="2589768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B3DD72-FB28-4FD7-A83A-3995E319FBAD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6BDEE1D-40B3-4872-AD0D-B7FFD6580AA6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8D32885-E7F9-4212-A642-E4168539E3F3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B304619-852E-41A9-9A3A-9E7C9A8EB376}"/>
              </a:ext>
            </a:extLst>
          </p:cNvPr>
          <p:cNvSpPr txBox="1"/>
          <p:nvPr/>
        </p:nvSpPr>
        <p:spPr>
          <a:xfrm>
            <a:off x="9719085" y="1096568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776EE2C-C928-48EC-93A7-4D976A1886F4}"/>
              </a:ext>
            </a:extLst>
          </p:cNvPr>
          <p:cNvSpPr txBox="1"/>
          <p:nvPr/>
        </p:nvSpPr>
        <p:spPr>
          <a:xfrm>
            <a:off x="3347056" y="2636063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BA642D6C-6692-43A3-BD5B-43994681C532}"/>
              </a:ext>
            </a:extLst>
          </p:cNvPr>
          <p:cNvSpPr/>
          <p:nvPr/>
        </p:nvSpPr>
        <p:spPr>
          <a:xfrm>
            <a:off x="4831046" y="2796077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0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96EBE3D0-6B2B-4A80-B94F-19CD1A0DB0A4}"/>
              </a:ext>
            </a:extLst>
          </p:cNvPr>
          <p:cNvSpPr/>
          <p:nvPr/>
        </p:nvSpPr>
        <p:spPr>
          <a:xfrm>
            <a:off x="2477491" y="2796077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0</a:t>
            </a:r>
          </a:p>
        </p:txBody>
      </p: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CB3AF84-934A-4898-9F07-6B9BE9BCCCE3}"/>
              </a:ext>
            </a:extLst>
          </p:cNvPr>
          <p:cNvCxnSpPr>
            <a:cxnSpLocks/>
            <a:stCxn id="82" idx="3"/>
            <a:endCxn id="81" idx="1"/>
          </p:cNvCxnSpPr>
          <p:nvPr/>
        </p:nvCxnSpPr>
        <p:spPr>
          <a:xfrm>
            <a:off x="2921118" y="2949311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2471A43-F428-400B-8197-B93AE1946D45}"/>
              </a:ext>
            </a:extLst>
          </p:cNvPr>
          <p:cNvSpPr/>
          <p:nvPr/>
        </p:nvSpPr>
        <p:spPr>
          <a:xfrm>
            <a:off x="4431472" y="2666166"/>
            <a:ext cx="1251332" cy="624910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08668837-8979-4786-8B20-6C3C343054EA}"/>
              </a:ext>
            </a:extLst>
          </p:cNvPr>
          <p:cNvSpPr/>
          <p:nvPr/>
        </p:nvSpPr>
        <p:spPr>
          <a:xfrm>
            <a:off x="2073638" y="2662991"/>
            <a:ext cx="1251332" cy="628085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6FBDF38-B833-480C-A1E6-53DF4303E2BA}"/>
              </a:ext>
            </a:extLst>
          </p:cNvPr>
          <p:cNvSpPr txBox="1"/>
          <p:nvPr/>
        </p:nvSpPr>
        <p:spPr>
          <a:xfrm>
            <a:off x="2714991" y="326587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2B188DAD-393E-4B1A-B23D-426957446B9B}"/>
              </a:ext>
            </a:extLst>
          </p:cNvPr>
          <p:cNvCxnSpPr>
            <a:cxnSpLocks/>
            <a:stCxn id="196" idx="0"/>
            <a:endCxn id="82" idx="2"/>
          </p:cNvCxnSpPr>
          <p:nvPr/>
        </p:nvCxnSpPr>
        <p:spPr>
          <a:xfrm flipV="1">
            <a:off x="2699304" y="3102544"/>
            <a:ext cx="1" cy="50178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8070A4A5-3796-4B03-B379-90A59C7FFAD7}"/>
              </a:ext>
            </a:extLst>
          </p:cNvPr>
          <p:cNvSpPr txBox="1"/>
          <p:nvPr/>
        </p:nvSpPr>
        <p:spPr>
          <a:xfrm>
            <a:off x="5032397" y="326587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12D1AD1-9BAC-4B66-9C82-CC442857AB8B}"/>
              </a:ext>
            </a:extLst>
          </p:cNvPr>
          <p:cNvCxnSpPr>
            <a:cxnSpLocks/>
            <a:stCxn id="195" idx="0"/>
            <a:endCxn id="81" idx="2"/>
          </p:cNvCxnSpPr>
          <p:nvPr/>
        </p:nvCxnSpPr>
        <p:spPr>
          <a:xfrm flipV="1">
            <a:off x="5057138" y="3102544"/>
            <a:ext cx="1" cy="50178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CA99D101-03DA-464E-8C14-4F501E7D277B}"/>
              </a:ext>
            </a:extLst>
          </p:cNvPr>
          <p:cNvGrpSpPr/>
          <p:nvPr/>
        </p:nvGrpSpPr>
        <p:grpSpPr>
          <a:xfrm>
            <a:off x="8143777" y="2346881"/>
            <a:ext cx="1181417" cy="1114886"/>
            <a:chOff x="3094823" y="4030487"/>
            <a:chExt cx="2744314" cy="2589768"/>
          </a:xfrm>
        </p:grpSpPr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F26758D9-8D81-4DF2-A600-37A3215FED8F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C52D8A2D-2DA9-4CB5-9354-6A69C22DCB14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8EF2CC71-5D53-46EA-930C-E62183E1F20B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58877017-C9F8-4048-9D2F-63EE43944247}"/>
              </a:ext>
            </a:extLst>
          </p:cNvPr>
          <p:cNvSpPr txBox="1"/>
          <p:nvPr/>
        </p:nvSpPr>
        <p:spPr>
          <a:xfrm>
            <a:off x="3372127" y="3514997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84E3F6FB-9753-49B7-ADE7-5AA15375413E}"/>
              </a:ext>
            </a:extLst>
          </p:cNvPr>
          <p:cNvGrpSpPr/>
          <p:nvPr/>
        </p:nvGrpSpPr>
        <p:grpSpPr>
          <a:xfrm>
            <a:off x="9537468" y="3312562"/>
            <a:ext cx="1181417" cy="1114886"/>
            <a:chOff x="3094823" y="4030487"/>
            <a:chExt cx="2744314" cy="2589768"/>
          </a:xfrm>
        </p:grpSpPr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1AAB8F11-18D3-43DF-BB99-4A8591F67D18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A7810778-0C16-4C67-BEC1-7894D17AF517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FA91F3D4-5064-440C-BD9C-5A5EF3C64528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81" name="Rectangle: Rounded Corners 180">
            <a:extLst>
              <a:ext uri="{FF2B5EF4-FFF2-40B4-BE49-F238E27FC236}">
                <a16:creationId xmlns:a16="http://schemas.microsoft.com/office/drawing/2014/main" id="{D2312687-AA6A-456B-B951-A7A388E39B8D}"/>
              </a:ext>
            </a:extLst>
          </p:cNvPr>
          <p:cNvSpPr/>
          <p:nvPr/>
        </p:nvSpPr>
        <p:spPr>
          <a:xfrm>
            <a:off x="4831046" y="3684739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40F665F8-2B83-4911-9539-6FE14D86C168}"/>
              </a:ext>
            </a:extLst>
          </p:cNvPr>
          <p:cNvSpPr/>
          <p:nvPr/>
        </p:nvSpPr>
        <p:spPr>
          <a:xfrm>
            <a:off x="2477491" y="3684739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1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648B9B3C-5E92-44DE-AD33-0C45C4801C60}"/>
              </a:ext>
            </a:extLst>
          </p:cNvPr>
          <p:cNvCxnSpPr>
            <a:cxnSpLocks/>
            <a:stCxn id="182" idx="3"/>
            <a:endCxn id="181" idx="1"/>
          </p:cNvCxnSpPr>
          <p:nvPr/>
        </p:nvCxnSpPr>
        <p:spPr>
          <a:xfrm>
            <a:off x="2921118" y="3837973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C64CC1A8-D058-4591-97D9-868CDDFF9995}"/>
              </a:ext>
            </a:extLst>
          </p:cNvPr>
          <p:cNvSpPr txBox="1"/>
          <p:nvPr/>
        </p:nvSpPr>
        <p:spPr>
          <a:xfrm>
            <a:off x="3360512" y="4078437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85" name="Rectangle: Rounded Corners 184">
            <a:extLst>
              <a:ext uri="{FF2B5EF4-FFF2-40B4-BE49-F238E27FC236}">
                <a16:creationId xmlns:a16="http://schemas.microsoft.com/office/drawing/2014/main" id="{395EB5B4-74D2-46F9-80C3-B857E600A7BD}"/>
              </a:ext>
            </a:extLst>
          </p:cNvPr>
          <p:cNvSpPr/>
          <p:nvPr/>
        </p:nvSpPr>
        <p:spPr>
          <a:xfrm>
            <a:off x="4831046" y="4254361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2</a:t>
            </a:r>
          </a:p>
        </p:txBody>
      </p:sp>
      <p:sp>
        <p:nvSpPr>
          <p:cNvPr id="186" name="Rectangle: Rounded Corners 185">
            <a:extLst>
              <a:ext uri="{FF2B5EF4-FFF2-40B4-BE49-F238E27FC236}">
                <a16:creationId xmlns:a16="http://schemas.microsoft.com/office/drawing/2014/main" id="{7348A645-E3F0-44FE-A755-355EB34A10B4}"/>
              </a:ext>
            </a:extLst>
          </p:cNvPr>
          <p:cNvSpPr/>
          <p:nvPr/>
        </p:nvSpPr>
        <p:spPr>
          <a:xfrm>
            <a:off x="2477491" y="4254361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2</a:t>
            </a:r>
          </a:p>
        </p:txBody>
      </p:sp>
      <p:cxnSp>
        <p:nvCxnSpPr>
          <p:cNvPr id="187" name="Straight Arrow Connector 186">
            <a:extLst>
              <a:ext uri="{FF2B5EF4-FFF2-40B4-BE49-F238E27FC236}">
                <a16:creationId xmlns:a16="http://schemas.microsoft.com/office/drawing/2014/main" id="{20AE6500-7576-4EEB-A165-07700FEC8A8F}"/>
              </a:ext>
            </a:extLst>
          </p:cNvPr>
          <p:cNvCxnSpPr>
            <a:cxnSpLocks/>
            <a:stCxn id="186" idx="3"/>
            <a:endCxn id="185" idx="1"/>
          </p:cNvCxnSpPr>
          <p:nvPr/>
        </p:nvCxnSpPr>
        <p:spPr>
          <a:xfrm>
            <a:off x="2921118" y="4407595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id="{E4139AB1-E5B5-4A3F-98E6-FE90211640B8}"/>
              </a:ext>
            </a:extLst>
          </p:cNvPr>
          <p:cNvSpPr txBox="1"/>
          <p:nvPr/>
        </p:nvSpPr>
        <p:spPr>
          <a:xfrm>
            <a:off x="3372127" y="4564398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A027CD99-AF0D-44F9-8BDF-A1EF75B2D864}"/>
              </a:ext>
            </a:extLst>
          </p:cNvPr>
          <p:cNvSpPr/>
          <p:nvPr/>
        </p:nvSpPr>
        <p:spPr>
          <a:xfrm>
            <a:off x="4831046" y="4734140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3</a:t>
            </a:r>
          </a:p>
        </p:txBody>
      </p:sp>
      <p:sp>
        <p:nvSpPr>
          <p:cNvPr id="190" name="Rectangle: Rounded Corners 189">
            <a:extLst>
              <a:ext uri="{FF2B5EF4-FFF2-40B4-BE49-F238E27FC236}">
                <a16:creationId xmlns:a16="http://schemas.microsoft.com/office/drawing/2014/main" id="{E5AF9321-4925-4D31-B245-8DA676B6FA4D}"/>
              </a:ext>
            </a:extLst>
          </p:cNvPr>
          <p:cNvSpPr/>
          <p:nvPr/>
        </p:nvSpPr>
        <p:spPr>
          <a:xfrm>
            <a:off x="2477491" y="4734140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3</a:t>
            </a:r>
          </a:p>
        </p:txBody>
      </p: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C58AA510-3694-4359-88A3-94B286DFD297}"/>
              </a:ext>
            </a:extLst>
          </p:cNvPr>
          <p:cNvCxnSpPr>
            <a:cxnSpLocks/>
            <a:stCxn id="190" idx="3"/>
            <a:endCxn id="189" idx="1"/>
          </p:cNvCxnSpPr>
          <p:nvPr/>
        </p:nvCxnSpPr>
        <p:spPr>
          <a:xfrm>
            <a:off x="2921118" y="4887374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>
            <a:extLst>
              <a:ext uri="{FF2B5EF4-FFF2-40B4-BE49-F238E27FC236}">
                <a16:creationId xmlns:a16="http://schemas.microsoft.com/office/drawing/2014/main" id="{51D40823-2830-4C2C-AEFD-F6F4B67E98BC}"/>
              </a:ext>
            </a:extLst>
          </p:cNvPr>
          <p:cNvSpPr txBox="1"/>
          <p:nvPr/>
        </p:nvSpPr>
        <p:spPr>
          <a:xfrm>
            <a:off x="8462286" y="241190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9FBBC1BF-CE8B-4FC7-B23E-D65DB3CF4CD5}"/>
              </a:ext>
            </a:extLst>
          </p:cNvPr>
          <p:cNvSpPr txBox="1"/>
          <p:nvPr/>
        </p:nvSpPr>
        <p:spPr>
          <a:xfrm>
            <a:off x="9872040" y="335195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05390FAB-FBCB-426F-889E-0B10A58F0158}"/>
              </a:ext>
            </a:extLst>
          </p:cNvPr>
          <p:cNvSpPr/>
          <p:nvPr/>
        </p:nvSpPr>
        <p:spPr>
          <a:xfrm>
            <a:off x="4431472" y="3604324"/>
            <a:ext cx="1251332" cy="1508385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Rectangle: Rounded Corners 195">
            <a:extLst>
              <a:ext uri="{FF2B5EF4-FFF2-40B4-BE49-F238E27FC236}">
                <a16:creationId xmlns:a16="http://schemas.microsoft.com/office/drawing/2014/main" id="{DD4DD6A5-A256-47C0-845A-E04F94113751}"/>
              </a:ext>
            </a:extLst>
          </p:cNvPr>
          <p:cNvSpPr/>
          <p:nvPr/>
        </p:nvSpPr>
        <p:spPr>
          <a:xfrm>
            <a:off x="2073638" y="3604324"/>
            <a:ext cx="1251332" cy="1508385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A58BA6A8-3849-4A7D-B93E-C9D6D202F879}"/>
              </a:ext>
            </a:extLst>
          </p:cNvPr>
          <p:cNvGrpSpPr/>
          <p:nvPr/>
        </p:nvGrpSpPr>
        <p:grpSpPr>
          <a:xfrm>
            <a:off x="7421438" y="930694"/>
            <a:ext cx="3328289" cy="5564699"/>
            <a:chOff x="7421438" y="796949"/>
            <a:chExt cx="3328289" cy="5495363"/>
          </a:xfrm>
        </p:grpSpPr>
        <p:sp>
          <p:nvSpPr>
            <p:cNvPr id="200" name="Rectangle: Rounded Corners 199">
              <a:extLst>
                <a:ext uri="{FF2B5EF4-FFF2-40B4-BE49-F238E27FC236}">
                  <a16:creationId xmlns:a16="http://schemas.microsoft.com/office/drawing/2014/main" id="{8948C40A-E49A-4CF9-B4C4-EDE283FC0965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BDFDAF7D-3E05-4FE9-9C81-391152A87894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63EC54A0-7044-4793-99C1-7FA80F37DEC5}"/>
              </a:ext>
            </a:extLst>
          </p:cNvPr>
          <p:cNvGrpSpPr/>
          <p:nvPr/>
        </p:nvGrpSpPr>
        <p:grpSpPr>
          <a:xfrm>
            <a:off x="1760706" y="1037321"/>
            <a:ext cx="4157209" cy="5536551"/>
            <a:chOff x="196828" y="890805"/>
            <a:chExt cx="4523821" cy="5495363"/>
          </a:xfrm>
        </p:grpSpPr>
        <p:sp>
          <p:nvSpPr>
            <p:cNvPr id="203" name="Rectangle: Rounded Corners 202">
              <a:extLst>
                <a:ext uri="{FF2B5EF4-FFF2-40B4-BE49-F238E27FC236}">
                  <a16:creationId xmlns:a16="http://schemas.microsoft.com/office/drawing/2014/main" id="{E29EFFF4-5C18-40C7-8F0E-AEB0B70F2430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A1E91213-E445-40F3-8F1B-8C22A130FF58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205" name="TextBox 204">
            <a:extLst>
              <a:ext uri="{FF2B5EF4-FFF2-40B4-BE49-F238E27FC236}">
                <a16:creationId xmlns:a16="http://schemas.microsoft.com/office/drawing/2014/main" id="{58D6E74B-30B4-4155-B7FF-A9631E2BFDA2}"/>
              </a:ext>
            </a:extLst>
          </p:cNvPr>
          <p:cNvSpPr txBox="1"/>
          <p:nvPr/>
        </p:nvSpPr>
        <p:spPr>
          <a:xfrm>
            <a:off x="9006801" y="133823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E2AC47BD-BF65-4904-98E0-42050D32DEBE}"/>
              </a:ext>
            </a:extLst>
          </p:cNvPr>
          <p:cNvSpPr/>
          <p:nvPr/>
        </p:nvSpPr>
        <p:spPr>
          <a:xfrm>
            <a:off x="2133769" y="1553703"/>
            <a:ext cx="3446377" cy="930440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A20A891-F484-4886-86EB-27C8816DE8F1}"/>
              </a:ext>
            </a:extLst>
          </p:cNvPr>
          <p:cNvSpPr/>
          <p:nvPr/>
        </p:nvSpPr>
        <p:spPr>
          <a:xfrm>
            <a:off x="2318082" y="2081255"/>
            <a:ext cx="1482374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 err="1"/>
              <a:t>FunctionalPartition</a:t>
            </a:r>
            <a:endParaRPr lang="en-US" sz="1200" dirty="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8C09C23C-97E6-454F-AB24-67E7A787C914}"/>
              </a:ext>
            </a:extLst>
          </p:cNvPr>
          <p:cNvSpPr/>
          <p:nvPr/>
        </p:nvSpPr>
        <p:spPr>
          <a:xfrm>
            <a:off x="4131610" y="2074809"/>
            <a:ext cx="1343483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PhysicalPartition</a:t>
            </a: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7B3484E6-A7E2-4F62-82BF-0275A33AE505}"/>
              </a:ext>
            </a:extLst>
          </p:cNvPr>
          <p:cNvCxnSpPr>
            <a:cxnSpLocks/>
            <a:stCxn id="85" idx="0"/>
            <a:endCxn id="67" idx="2"/>
          </p:cNvCxnSpPr>
          <p:nvPr/>
        </p:nvCxnSpPr>
        <p:spPr>
          <a:xfrm flipV="1">
            <a:off x="2699304" y="2387722"/>
            <a:ext cx="359965" cy="275269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E953055D-BAB4-4721-BC60-4007107FED31}"/>
              </a:ext>
            </a:extLst>
          </p:cNvPr>
          <p:cNvCxnSpPr>
            <a:cxnSpLocks/>
            <a:stCxn id="84" idx="0"/>
            <a:endCxn id="68" idx="2"/>
          </p:cNvCxnSpPr>
          <p:nvPr/>
        </p:nvCxnSpPr>
        <p:spPr>
          <a:xfrm flipH="1" flipV="1">
            <a:off x="4803352" y="2381276"/>
            <a:ext cx="253786" cy="28489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C713BBF5-8F38-48A3-900F-75BBBB4DC11B}"/>
              </a:ext>
            </a:extLst>
          </p:cNvPr>
          <p:cNvSpPr/>
          <p:nvPr/>
        </p:nvSpPr>
        <p:spPr>
          <a:xfrm>
            <a:off x="3495482" y="1599374"/>
            <a:ext cx="722950" cy="3064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Subject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2191C25B-2AB6-472C-A0D3-CF10B78830C0}"/>
              </a:ext>
            </a:extLst>
          </p:cNvPr>
          <p:cNvCxnSpPr>
            <a:cxnSpLocks/>
            <a:stCxn id="71" idx="2"/>
            <a:endCxn id="67" idx="0"/>
          </p:cNvCxnSpPr>
          <p:nvPr/>
        </p:nvCxnSpPr>
        <p:spPr>
          <a:xfrm flipH="1">
            <a:off x="3059269" y="1905841"/>
            <a:ext cx="797688" cy="175414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041248D-65E7-4E02-B8DC-A8D89445A7E7}"/>
              </a:ext>
            </a:extLst>
          </p:cNvPr>
          <p:cNvCxnSpPr>
            <a:cxnSpLocks/>
            <a:stCxn id="71" idx="2"/>
            <a:endCxn id="68" idx="0"/>
          </p:cNvCxnSpPr>
          <p:nvPr/>
        </p:nvCxnSpPr>
        <p:spPr>
          <a:xfrm>
            <a:off x="3856957" y="1905841"/>
            <a:ext cx="946395" cy="168968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97E13C32-02D3-46B9-8155-C2BE986C6A7D}"/>
              </a:ext>
            </a:extLst>
          </p:cNvPr>
          <p:cNvSpPr txBox="1"/>
          <p:nvPr/>
        </p:nvSpPr>
        <p:spPr>
          <a:xfrm>
            <a:off x="2970215" y="1261280"/>
            <a:ext cx="1738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50000"/>
                  </a:schemeClr>
                </a:solidFill>
              </a:rPr>
              <a:t>RepositoryModel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AE9F8968-EF87-4636-B6FA-D420F6A8CA30}"/>
              </a:ext>
            </a:extLst>
          </p:cNvPr>
          <p:cNvCxnSpPr>
            <a:cxnSpLocks/>
            <a:stCxn id="71" idx="3"/>
            <a:endCxn id="41" idx="0"/>
          </p:cNvCxnSpPr>
          <p:nvPr/>
        </p:nvCxnSpPr>
        <p:spPr>
          <a:xfrm flipV="1">
            <a:off x="4218432" y="1524477"/>
            <a:ext cx="4462137" cy="22813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14D25A40-0FF9-452C-8688-E31BCBCB0EEF}"/>
              </a:ext>
            </a:extLst>
          </p:cNvPr>
          <p:cNvSpPr txBox="1"/>
          <p:nvPr/>
        </p:nvSpPr>
        <p:spPr>
          <a:xfrm rot="21412893">
            <a:off x="5317309" y="1328636"/>
            <a:ext cx="22878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textually references</a:t>
            </a: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EDA5FE00-6715-4C9B-A344-EF7B95715A74}"/>
              </a:ext>
            </a:extLst>
          </p:cNvPr>
          <p:cNvCxnSpPr>
            <a:cxnSpLocks/>
          </p:cNvCxnSpPr>
          <p:nvPr/>
        </p:nvCxnSpPr>
        <p:spPr>
          <a:xfrm>
            <a:off x="9134107" y="2832491"/>
            <a:ext cx="624517" cy="650411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3D8F7FD9-2F84-4725-B697-05D128FC2B22}"/>
              </a:ext>
            </a:extLst>
          </p:cNvPr>
          <p:cNvSpPr txBox="1"/>
          <p:nvPr/>
        </p:nvSpPr>
        <p:spPr>
          <a:xfrm>
            <a:off x="9379827" y="2866444"/>
            <a:ext cx="5993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hild</a:t>
            </a: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E08109CC-20E4-4B37-BBB5-4D699F8981E5}"/>
              </a:ext>
            </a:extLst>
          </p:cNvPr>
          <p:cNvCxnSpPr>
            <a:cxnSpLocks/>
            <a:stCxn id="182" idx="2"/>
            <a:endCxn id="186" idx="0"/>
          </p:cNvCxnSpPr>
          <p:nvPr/>
        </p:nvCxnSpPr>
        <p:spPr>
          <a:xfrm>
            <a:off x="2699305" y="3991206"/>
            <a:ext cx="0" cy="263155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75C7D2BE-D29D-482B-9FA2-3786F71B2E1B}"/>
              </a:ext>
            </a:extLst>
          </p:cNvPr>
          <p:cNvCxnSpPr>
            <a:cxnSpLocks/>
            <a:stCxn id="181" idx="2"/>
            <a:endCxn id="185" idx="0"/>
          </p:cNvCxnSpPr>
          <p:nvPr/>
        </p:nvCxnSpPr>
        <p:spPr>
          <a:xfrm>
            <a:off x="5057139" y="3991206"/>
            <a:ext cx="0" cy="263155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E8113AEC-CBA2-4EBF-87DB-EDBD39E227F2}"/>
              </a:ext>
            </a:extLst>
          </p:cNvPr>
          <p:cNvSpPr/>
          <p:nvPr/>
        </p:nvSpPr>
        <p:spPr>
          <a:xfrm>
            <a:off x="7675544" y="4524601"/>
            <a:ext cx="1861289" cy="1727924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931EDFB5-DD09-4C7B-9A72-4C12331CD005}"/>
              </a:ext>
            </a:extLst>
          </p:cNvPr>
          <p:cNvGrpSpPr/>
          <p:nvPr/>
        </p:nvGrpSpPr>
        <p:grpSpPr>
          <a:xfrm>
            <a:off x="8005701" y="3717116"/>
            <a:ext cx="1181417" cy="1114886"/>
            <a:chOff x="3094823" y="4030487"/>
            <a:chExt cx="2744314" cy="2589768"/>
          </a:xfrm>
        </p:grpSpPr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AE1CCC96-5E80-4673-890D-61AA733BA462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EAF0BBE6-22C0-449C-A08B-C65C8D8B37CE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4479A807-CE46-4706-887D-B0FA73E7DE10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D31E77A4-547B-47F9-9EE0-58BFABC444AD}"/>
              </a:ext>
            </a:extLst>
          </p:cNvPr>
          <p:cNvSpPr txBox="1"/>
          <p:nvPr/>
        </p:nvSpPr>
        <p:spPr>
          <a:xfrm>
            <a:off x="8321500" y="3778411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2484BFE1-3E86-4AAE-B740-9E2C75743236}"/>
              </a:ext>
            </a:extLst>
          </p:cNvPr>
          <p:cNvGrpSpPr/>
          <p:nvPr/>
        </p:nvGrpSpPr>
        <p:grpSpPr>
          <a:xfrm>
            <a:off x="8669637" y="4920511"/>
            <a:ext cx="916130" cy="864539"/>
            <a:chOff x="3094823" y="4030487"/>
            <a:chExt cx="2744314" cy="2589768"/>
          </a:xfrm>
        </p:grpSpPr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FCD26A5-82CE-47AA-9B6E-970C03DA4BC9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62D0BA34-3F8B-46D0-9961-EF0E84D35778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59BF2973-88F3-4BAC-BBDE-EC34FBC8801E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D8B02A8C-5A11-4CD0-94BB-AFD01781828D}"/>
              </a:ext>
            </a:extLst>
          </p:cNvPr>
          <p:cNvSpPr txBox="1"/>
          <p:nvPr/>
        </p:nvSpPr>
        <p:spPr>
          <a:xfrm>
            <a:off x="8903857" y="4913222"/>
            <a:ext cx="2460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7A95C167-67D0-4A79-A5E3-E3B5278BAD90}"/>
              </a:ext>
            </a:extLst>
          </p:cNvPr>
          <p:cNvGrpSpPr/>
          <p:nvPr/>
        </p:nvGrpSpPr>
        <p:grpSpPr>
          <a:xfrm>
            <a:off x="7784526" y="5227917"/>
            <a:ext cx="916130" cy="864539"/>
            <a:chOff x="3094823" y="4030487"/>
            <a:chExt cx="2744314" cy="2589768"/>
          </a:xfrm>
        </p:grpSpPr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13716065-B1AD-4F54-8B6B-19CC2B34A7A0}"/>
                </a:ext>
              </a:extLst>
            </p:cNvPr>
            <p:cNvSpPr/>
            <p:nvPr/>
          </p:nvSpPr>
          <p:spPr>
            <a:xfrm rot="16200000" flipV="1">
              <a:off x="2670763" y="5030286"/>
              <a:ext cx="2014029" cy="1165910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351F08C0-D7B9-4436-9A06-AD5BC46911B2}"/>
                </a:ext>
              </a:extLst>
            </p:cNvPr>
            <p:cNvSpPr/>
            <p:nvPr/>
          </p:nvSpPr>
          <p:spPr>
            <a:xfrm rot="12600000" flipV="1">
              <a:off x="3249914" y="4030487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E904D2A9-8D81-4E68-92D6-335108A5FD8E}"/>
                </a:ext>
              </a:extLst>
            </p:cNvPr>
            <p:cNvSpPr/>
            <p:nvPr/>
          </p:nvSpPr>
          <p:spPr>
            <a:xfrm rot="19800000" flipV="1">
              <a:off x="3825108" y="5033334"/>
              <a:ext cx="2014029" cy="1165912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6D9444E3-ADBC-46E9-987A-9AB02F8EEECA}"/>
              </a:ext>
            </a:extLst>
          </p:cNvPr>
          <p:cNvSpPr txBox="1"/>
          <p:nvPr/>
        </p:nvSpPr>
        <p:spPr>
          <a:xfrm>
            <a:off x="8004189" y="5237612"/>
            <a:ext cx="2460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CB2529C8-8A2A-47F0-A541-80EBE0EA8704}"/>
              </a:ext>
            </a:extLst>
          </p:cNvPr>
          <p:cNvSpPr txBox="1"/>
          <p:nvPr/>
        </p:nvSpPr>
        <p:spPr>
          <a:xfrm>
            <a:off x="2699992" y="5197901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66EACE84-F8A3-469D-B79F-9FC048E64CC5}"/>
              </a:ext>
            </a:extLst>
          </p:cNvPr>
          <p:cNvCxnSpPr>
            <a:cxnSpLocks/>
            <a:stCxn id="131" idx="0"/>
            <a:endCxn id="190" idx="2"/>
          </p:cNvCxnSpPr>
          <p:nvPr/>
        </p:nvCxnSpPr>
        <p:spPr>
          <a:xfrm flipV="1">
            <a:off x="2699304" y="5040607"/>
            <a:ext cx="1" cy="511028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6CC2BBE1-1B5F-4F42-9560-B84433ED3E93}"/>
              </a:ext>
            </a:extLst>
          </p:cNvPr>
          <p:cNvCxnSpPr>
            <a:cxnSpLocks/>
            <a:stCxn id="130" idx="0"/>
            <a:endCxn id="189" idx="2"/>
          </p:cNvCxnSpPr>
          <p:nvPr/>
        </p:nvCxnSpPr>
        <p:spPr>
          <a:xfrm flipV="1">
            <a:off x="5057138" y="5040607"/>
            <a:ext cx="1" cy="511028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6082DBBF-E699-4233-B5FD-775AEBD4FF50}"/>
              </a:ext>
            </a:extLst>
          </p:cNvPr>
          <p:cNvSpPr txBox="1"/>
          <p:nvPr/>
        </p:nvSpPr>
        <p:spPr>
          <a:xfrm>
            <a:off x="3363434" y="5555417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EC3727C6-6C24-41E9-AF1E-D7B37F30714F}"/>
              </a:ext>
            </a:extLst>
          </p:cNvPr>
          <p:cNvSpPr/>
          <p:nvPr/>
        </p:nvSpPr>
        <p:spPr>
          <a:xfrm>
            <a:off x="4831046" y="5725159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4</a:t>
            </a: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992F7965-9441-42D2-B1EE-6C0180CBEC98}"/>
              </a:ext>
            </a:extLst>
          </p:cNvPr>
          <p:cNvSpPr/>
          <p:nvPr/>
        </p:nvSpPr>
        <p:spPr>
          <a:xfrm>
            <a:off x="2477491" y="5725159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4</a:t>
            </a:r>
          </a:p>
        </p:txBody>
      </p: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887568E4-F666-4C64-A697-0BA24EFC5A36}"/>
              </a:ext>
            </a:extLst>
          </p:cNvPr>
          <p:cNvCxnSpPr>
            <a:cxnSpLocks/>
            <a:stCxn id="120" idx="3"/>
            <a:endCxn id="119" idx="1"/>
          </p:cNvCxnSpPr>
          <p:nvPr/>
        </p:nvCxnSpPr>
        <p:spPr>
          <a:xfrm>
            <a:off x="2921118" y="5878393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B5D0FBC4-6903-4791-8505-90B108235490}"/>
              </a:ext>
            </a:extLst>
          </p:cNvPr>
          <p:cNvSpPr txBox="1"/>
          <p:nvPr/>
        </p:nvSpPr>
        <p:spPr>
          <a:xfrm>
            <a:off x="3351819" y="5923366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560CD5BC-7EA6-4288-8F88-5F637903DCC9}"/>
              </a:ext>
            </a:extLst>
          </p:cNvPr>
          <p:cNvSpPr/>
          <p:nvPr/>
        </p:nvSpPr>
        <p:spPr>
          <a:xfrm>
            <a:off x="4831046" y="6099290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5</a:t>
            </a: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7A824F86-8305-4286-BEB5-A344D2BC63FC}"/>
              </a:ext>
            </a:extLst>
          </p:cNvPr>
          <p:cNvSpPr/>
          <p:nvPr/>
        </p:nvSpPr>
        <p:spPr>
          <a:xfrm>
            <a:off x="2477491" y="6099290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5</a:t>
            </a:r>
          </a:p>
        </p:txBody>
      </p: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B834A693-A10F-4C6D-8878-0256658D19BC}"/>
              </a:ext>
            </a:extLst>
          </p:cNvPr>
          <p:cNvCxnSpPr>
            <a:cxnSpLocks/>
            <a:stCxn id="124" idx="3"/>
            <a:endCxn id="123" idx="1"/>
          </p:cNvCxnSpPr>
          <p:nvPr/>
        </p:nvCxnSpPr>
        <p:spPr>
          <a:xfrm>
            <a:off x="2921118" y="6252524"/>
            <a:ext cx="1909928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7BFD2FDA-1A2A-4A9E-8E03-662DF546E081}"/>
              </a:ext>
            </a:extLst>
          </p:cNvPr>
          <p:cNvSpPr/>
          <p:nvPr/>
        </p:nvSpPr>
        <p:spPr>
          <a:xfrm>
            <a:off x="4431472" y="5551635"/>
            <a:ext cx="1251332" cy="959177"/>
          </a:xfrm>
          <a:prstGeom prst="roundRect">
            <a:avLst/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Rectangle: Rounded Corners 130">
            <a:extLst>
              <a:ext uri="{FF2B5EF4-FFF2-40B4-BE49-F238E27FC236}">
                <a16:creationId xmlns:a16="http://schemas.microsoft.com/office/drawing/2014/main" id="{B0022019-D6B4-46E8-8CEF-328C6B8B9CB3}"/>
              </a:ext>
            </a:extLst>
          </p:cNvPr>
          <p:cNvSpPr/>
          <p:nvPr/>
        </p:nvSpPr>
        <p:spPr>
          <a:xfrm>
            <a:off x="2073638" y="5551635"/>
            <a:ext cx="1251332" cy="959177"/>
          </a:xfrm>
          <a:prstGeom prst="roundRect">
            <a:avLst/>
          </a:prstGeom>
          <a:noFill/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70095239-11B4-4559-B7A9-9F71B4660492}"/>
              </a:ext>
            </a:extLst>
          </p:cNvPr>
          <p:cNvSpPr txBox="1"/>
          <p:nvPr/>
        </p:nvSpPr>
        <p:spPr>
          <a:xfrm>
            <a:off x="5055478" y="5196938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b-models</a:t>
            </a:r>
          </a:p>
        </p:txBody>
      </p:sp>
    </p:spTree>
    <p:extLst>
      <p:ext uri="{BB962C8B-B14F-4D97-AF65-F5344CB8AC3E}">
        <p14:creationId xmlns:p14="http://schemas.microsoft.com/office/powerpoint/2010/main" val="24950058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3" grpId="0" animBg="1"/>
      <p:bldP spid="108" grpId="0"/>
      <p:bldP spid="113" grpId="0"/>
      <p:bldP spid="115" grpId="0"/>
      <p:bldP spid="118" grpId="0"/>
      <p:bldP spid="119" grpId="0" animBg="1"/>
      <p:bldP spid="120" grpId="0" animBg="1"/>
      <p:bldP spid="122" grpId="0"/>
      <p:bldP spid="123" grpId="0" animBg="1"/>
      <p:bldP spid="124" grpId="0" animBg="1"/>
      <p:bldP spid="130" grpId="0" animBg="1"/>
      <p:bldP spid="131" grpId="0" animBg="1"/>
      <p:bldP spid="13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FE8D26-B7C1-43D8-A186-AA704FF14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S Mode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DB4D2F-7D54-4AED-8228-9B798E0669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srgbClr val="00B0F0"/>
                </a:solidFill>
              </a:rPr>
              <a:t>Digital Twin</a:t>
            </a:r>
            <a:r>
              <a:rPr lang="en-US" dirty="0"/>
              <a:t>: A virtual representation of reality designed to be leveraged by </a:t>
            </a:r>
            <a:r>
              <a:rPr lang="en-US" u="sng" dirty="0"/>
              <a:t>many different applications </a:t>
            </a:r>
            <a:r>
              <a:rPr lang="en-US" dirty="0"/>
              <a:t>that may be unknown at design time.</a:t>
            </a:r>
          </a:p>
          <a:p>
            <a:r>
              <a:rPr lang="en-US" dirty="0"/>
              <a:t> </a:t>
            </a:r>
            <a:r>
              <a:rPr lang="en-US" dirty="0">
                <a:solidFill>
                  <a:srgbClr val="00B0F0"/>
                </a:solidFill>
              </a:rPr>
              <a:t>“Silo” Repository</a:t>
            </a:r>
            <a:r>
              <a:rPr lang="en-US" dirty="0"/>
              <a:t>: </a:t>
            </a:r>
            <a:r>
              <a:rPr lang="en-US" u="sng" dirty="0"/>
              <a:t>Application-specific</a:t>
            </a:r>
            <a:r>
              <a:rPr lang="en-US" dirty="0"/>
              <a:t> repository with data-model optimized for specialized disciplines, workflows, lifecycle phases, etc.</a:t>
            </a:r>
          </a:p>
          <a:p>
            <a:r>
              <a:rPr lang="en-US" dirty="0"/>
              <a:t>BIS is for modeling a Digital Twin</a:t>
            </a:r>
          </a:p>
          <a:p>
            <a:pPr lvl="1"/>
            <a:r>
              <a:rPr lang="en-US" dirty="0"/>
              <a:t>Information is organized around a “physical backbone” and the systems in which physical objects participate</a:t>
            </a:r>
          </a:p>
          <a:p>
            <a:pPr lvl="1"/>
            <a:r>
              <a:rPr lang="en-US" dirty="0"/>
              <a:t>In a single repository, BIS cohesively handles:</a:t>
            </a:r>
          </a:p>
          <a:p>
            <a:pPr lvl="2"/>
            <a:r>
              <a:rPr lang="en-US" dirty="0"/>
              <a:t>Multiple </a:t>
            </a:r>
            <a:r>
              <a:rPr lang="en-US" dirty="0">
                <a:solidFill>
                  <a:srgbClr val="00B0F0"/>
                </a:solidFill>
              </a:rPr>
              <a:t>Modeling Perspectives</a:t>
            </a:r>
          </a:p>
          <a:p>
            <a:pPr lvl="2"/>
            <a:r>
              <a:rPr lang="en-US" dirty="0"/>
              <a:t>Multiple </a:t>
            </a:r>
            <a:r>
              <a:rPr lang="en-US" dirty="0">
                <a:solidFill>
                  <a:srgbClr val="00B0F0"/>
                </a:solidFill>
              </a:rPr>
              <a:t>Modeling Granularities</a:t>
            </a:r>
          </a:p>
          <a:p>
            <a:r>
              <a:rPr lang="en-US" dirty="0"/>
              <a:t>BIS does not preclude purpose-specific “materialized views” synchronized with the Digital Twin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715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 all real-world Objects are physical..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F9523D9-7CFD-463A-BCC8-389EAFE5163A}"/>
              </a:ext>
            </a:extLst>
          </p:cNvPr>
          <p:cNvGrpSpPr/>
          <p:nvPr/>
        </p:nvGrpSpPr>
        <p:grpSpPr>
          <a:xfrm>
            <a:off x="1416595" y="1105589"/>
            <a:ext cx="2391750" cy="2102637"/>
            <a:chOff x="1458521" y="1335914"/>
            <a:chExt cx="2676759" cy="2327428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4B705BA-05A2-47C5-AB8A-71E8E94C07CE}"/>
                </a:ext>
              </a:extLst>
            </p:cNvPr>
            <p:cNvSpPr/>
            <p:nvPr/>
          </p:nvSpPr>
          <p:spPr>
            <a:xfrm rot="12600000" flipV="1">
              <a:off x="1458521" y="1335914"/>
              <a:ext cx="2676759" cy="2327428"/>
            </a:xfrm>
            <a:custGeom>
              <a:avLst/>
              <a:gdLst>
                <a:gd name="connsiteX0" fmla="*/ 2004082 w 2676759"/>
                <a:gd name="connsiteY0" fmla="*/ 2662 h 2327428"/>
                <a:gd name="connsiteX1" fmla="*/ 2003566 w 2676759"/>
                <a:gd name="connsiteY1" fmla="*/ 2661 h 2327428"/>
                <a:gd name="connsiteX2" fmla="*/ 2003307 w 2676759"/>
                <a:gd name="connsiteY2" fmla="*/ 2215 h 2327428"/>
                <a:gd name="connsiteX3" fmla="*/ 2003049 w 2676759"/>
                <a:gd name="connsiteY3" fmla="*/ 2660 h 2327428"/>
                <a:gd name="connsiteX4" fmla="*/ 662416 w 2676759"/>
                <a:gd name="connsiteY4" fmla="*/ 0 h 2327428"/>
                <a:gd name="connsiteX5" fmla="*/ 666005 w 2676759"/>
                <a:gd name="connsiteY5" fmla="*/ 6216 h 2327428"/>
                <a:gd name="connsiteX6" fmla="*/ 516 w 2676759"/>
                <a:gd name="connsiteY6" fmla="*/ 1164179 h 2327428"/>
                <a:gd name="connsiteX7" fmla="*/ 0 w 2676759"/>
                <a:gd name="connsiteY7" fmla="*/ 1164180 h 2327428"/>
                <a:gd name="connsiteX8" fmla="*/ 257 w 2676759"/>
                <a:gd name="connsiteY8" fmla="*/ 1164627 h 2327428"/>
                <a:gd name="connsiteX9" fmla="*/ 1 w 2676759"/>
                <a:gd name="connsiteY9" fmla="*/ 1165075 h 2327428"/>
                <a:gd name="connsiteX10" fmla="*/ 516 w 2676759"/>
                <a:gd name="connsiteY10" fmla="*/ 1165076 h 2327428"/>
                <a:gd name="connsiteX11" fmla="*/ 663210 w 2676759"/>
                <a:gd name="connsiteY11" fmla="*/ 2318175 h 2327428"/>
                <a:gd name="connsiteX12" fmla="*/ 662729 w 2676759"/>
                <a:gd name="connsiteY12" fmla="*/ 2319004 h 2327428"/>
                <a:gd name="connsiteX13" fmla="*/ 663686 w 2676759"/>
                <a:gd name="connsiteY13" fmla="*/ 2319004 h 2327428"/>
                <a:gd name="connsiteX14" fmla="*/ 668528 w 2676759"/>
                <a:gd name="connsiteY14" fmla="*/ 2327428 h 2327428"/>
                <a:gd name="connsiteX15" fmla="*/ 673392 w 2676759"/>
                <a:gd name="connsiteY15" fmla="*/ 2319004 h 2327428"/>
                <a:gd name="connsiteX16" fmla="*/ 2001831 w 2676759"/>
                <a:gd name="connsiteY16" fmla="*/ 2319004 h 2327428"/>
                <a:gd name="connsiteX17" fmla="*/ 2003619 w 2676759"/>
                <a:gd name="connsiteY17" fmla="*/ 2322115 h 2327428"/>
                <a:gd name="connsiteX18" fmla="*/ 2005415 w 2676759"/>
                <a:gd name="connsiteY18" fmla="*/ 2319004 h 2327428"/>
                <a:gd name="connsiteX19" fmla="*/ 2009008 w 2676759"/>
                <a:gd name="connsiteY19" fmla="*/ 2319005 h 2327428"/>
                <a:gd name="connsiteX20" fmla="*/ 2007207 w 2676759"/>
                <a:gd name="connsiteY20" fmla="*/ 2315900 h 2327428"/>
                <a:gd name="connsiteX21" fmla="*/ 2672950 w 2676759"/>
                <a:gd name="connsiteY21" fmla="*/ 1162800 h 2327428"/>
                <a:gd name="connsiteX22" fmla="*/ 2676446 w 2676759"/>
                <a:gd name="connsiteY22" fmla="*/ 1162800 h 2327428"/>
                <a:gd name="connsiteX23" fmla="*/ 2674694 w 2676759"/>
                <a:gd name="connsiteY23" fmla="*/ 1159779 h 2327428"/>
                <a:gd name="connsiteX24" fmla="*/ 2676759 w 2676759"/>
                <a:gd name="connsiteY24" fmla="*/ 1156203 h 2327428"/>
                <a:gd name="connsiteX25" fmla="*/ 2672625 w 2676759"/>
                <a:gd name="connsiteY25" fmla="*/ 1156211 h 2327428"/>
                <a:gd name="connsiteX26" fmla="*/ 2003825 w 2676759"/>
                <a:gd name="connsiteY26" fmla="*/ 3109 h 232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76759" h="2327428">
                  <a:moveTo>
                    <a:pt x="2004082" y="2662"/>
                  </a:moveTo>
                  <a:lnTo>
                    <a:pt x="2003566" y="2661"/>
                  </a:lnTo>
                  <a:lnTo>
                    <a:pt x="2003307" y="2215"/>
                  </a:lnTo>
                  <a:lnTo>
                    <a:pt x="2003049" y="2660"/>
                  </a:lnTo>
                  <a:lnTo>
                    <a:pt x="662416" y="0"/>
                  </a:lnTo>
                  <a:lnTo>
                    <a:pt x="666005" y="6216"/>
                  </a:lnTo>
                  <a:lnTo>
                    <a:pt x="516" y="1164179"/>
                  </a:lnTo>
                  <a:lnTo>
                    <a:pt x="0" y="1164180"/>
                  </a:lnTo>
                  <a:lnTo>
                    <a:pt x="257" y="1164627"/>
                  </a:lnTo>
                  <a:lnTo>
                    <a:pt x="1" y="1165075"/>
                  </a:lnTo>
                  <a:lnTo>
                    <a:pt x="516" y="1165076"/>
                  </a:lnTo>
                  <a:lnTo>
                    <a:pt x="663210" y="2318175"/>
                  </a:lnTo>
                  <a:lnTo>
                    <a:pt x="662729" y="2319004"/>
                  </a:lnTo>
                  <a:lnTo>
                    <a:pt x="663686" y="2319004"/>
                  </a:lnTo>
                  <a:lnTo>
                    <a:pt x="668528" y="2327428"/>
                  </a:lnTo>
                  <a:lnTo>
                    <a:pt x="673392" y="2319004"/>
                  </a:lnTo>
                  <a:lnTo>
                    <a:pt x="2001831" y="2319004"/>
                  </a:lnTo>
                  <a:lnTo>
                    <a:pt x="2003619" y="2322115"/>
                  </a:lnTo>
                  <a:lnTo>
                    <a:pt x="2005415" y="2319004"/>
                  </a:lnTo>
                  <a:lnTo>
                    <a:pt x="2009008" y="2319005"/>
                  </a:lnTo>
                  <a:lnTo>
                    <a:pt x="2007207" y="2315900"/>
                  </a:lnTo>
                  <a:lnTo>
                    <a:pt x="2672950" y="1162800"/>
                  </a:lnTo>
                  <a:lnTo>
                    <a:pt x="2676446" y="1162800"/>
                  </a:lnTo>
                  <a:lnTo>
                    <a:pt x="2674694" y="1159779"/>
                  </a:lnTo>
                  <a:lnTo>
                    <a:pt x="2676759" y="1156203"/>
                  </a:lnTo>
                  <a:lnTo>
                    <a:pt x="2672625" y="1156211"/>
                  </a:lnTo>
                  <a:lnTo>
                    <a:pt x="2003825" y="3109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08BD53B-1373-4D3D-9BA2-1E00FB0E1304}"/>
                </a:ext>
              </a:extLst>
            </p:cNvPr>
            <p:cNvSpPr/>
            <p:nvPr/>
          </p:nvSpPr>
          <p:spPr>
            <a:xfrm>
              <a:off x="1883833" y="2037964"/>
              <a:ext cx="1826142" cy="9233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none" anchor="ctr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l World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Spatial Location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Object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88C0113-7F03-4D17-9F77-F592483444FD}"/>
              </a:ext>
            </a:extLst>
          </p:cNvPr>
          <p:cNvGrpSpPr/>
          <p:nvPr/>
        </p:nvGrpSpPr>
        <p:grpSpPr>
          <a:xfrm>
            <a:off x="4900125" y="1105589"/>
            <a:ext cx="2391750" cy="2102637"/>
            <a:chOff x="1458521" y="1335914"/>
            <a:chExt cx="2676759" cy="2327428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090420C-6155-497E-AD2F-E9EAB49CEA07}"/>
                </a:ext>
              </a:extLst>
            </p:cNvPr>
            <p:cNvSpPr/>
            <p:nvPr/>
          </p:nvSpPr>
          <p:spPr>
            <a:xfrm rot="12600000" flipV="1">
              <a:off x="1458521" y="1335914"/>
              <a:ext cx="2676759" cy="2327428"/>
            </a:xfrm>
            <a:custGeom>
              <a:avLst/>
              <a:gdLst>
                <a:gd name="connsiteX0" fmla="*/ 2004082 w 2676759"/>
                <a:gd name="connsiteY0" fmla="*/ 2662 h 2327428"/>
                <a:gd name="connsiteX1" fmla="*/ 2003566 w 2676759"/>
                <a:gd name="connsiteY1" fmla="*/ 2661 h 2327428"/>
                <a:gd name="connsiteX2" fmla="*/ 2003307 w 2676759"/>
                <a:gd name="connsiteY2" fmla="*/ 2215 h 2327428"/>
                <a:gd name="connsiteX3" fmla="*/ 2003049 w 2676759"/>
                <a:gd name="connsiteY3" fmla="*/ 2660 h 2327428"/>
                <a:gd name="connsiteX4" fmla="*/ 662416 w 2676759"/>
                <a:gd name="connsiteY4" fmla="*/ 0 h 2327428"/>
                <a:gd name="connsiteX5" fmla="*/ 666005 w 2676759"/>
                <a:gd name="connsiteY5" fmla="*/ 6216 h 2327428"/>
                <a:gd name="connsiteX6" fmla="*/ 516 w 2676759"/>
                <a:gd name="connsiteY6" fmla="*/ 1164179 h 2327428"/>
                <a:gd name="connsiteX7" fmla="*/ 0 w 2676759"/>
                <a:gd name="connsiteY7" fmla="*/ 1164180 h 2327428"/>
                <a:gd name="connsiteX8" fmla="*/ 257 w 2676759"/>
                <a:gd name="connsiteY8" fmla="*/ 1164627 h 2327428"/>
                <a:gd name="connsiteX9" fmla="*/ 1 w 2676759"/>
                <a:gd name="connsiteY9" fmla="*/ 1165075 h 2327428"/>
                <a:gd name="connsiteX10" fmla="*/ 516 w 2676759"/>
                <a:gd name="connsiteY10" fmla="*/ 1165076 h 2327428"/>
                <a:gd name="connsiteX11" fmla="*/ 663210 w 2676759"/>
                <a:gd name="connsiteY11" fmla="*/ 2318175 h 2327428"/>
                <a:gd name="connsiteX12" fmla="*/ 662729 w 2676759"/>
                <a:gd name="connsiteY12" fmla="*/ 2319004 h 2327428"/>
                <a:gd name="connsiteX13" fmla="*/ 663686 w 2676759"/>
                <a:gd name="connsiteY13" fmla="*/ 2319004 h 2327428"/>
                <a:gd name="connsiteX14" fmla="*/ 668528 w 2676759"/>
                <a:gd name="connsiteY14" fmla="*/ 2327428 h 2327428"/>
                <a:gd name="connsiteX15" fmla="*/ 673392 w 2676759"/>
                <a:gd name="connsiteY15" fmla="*/ 2319004 h 2327428"/>
                <a:gd name="connsiteX16" fmla="*/ 2001831 w 2676759"/>
                <a:gd name="connsiteY16" fmla="*/ 2319004 h 2327428"/>
                <a:gd name="connsiteX17" fmla="*/ 2003619 w 2676759"/>
                <a:gd name="connsiteY17" fmla="*/ 2322115 h 2327428"/>
                <a:gd name="connsiteX18" fmla="*/ 2005415 w 2676759"/>
                <a:gd name="connsiteY18" fmla="*/ 2319004 h 2327428"/>
                <a:gd name="connsiteX19" fmla="*/ 2009008 w 2676759"/>
                <a:gd name="connsiteY19" fmla="*/ 2319005 h 2327428"/>
                <a:gd name="connsiteX20" fmla="*/ 2007207 w 2676759"/>
                <a:gd name="connsiteY20" fmla="*/ 2315900 h 2327428"/>
                <a:gd name="connsiteX21" fmla="*/ 2672950 w 2676759"/>
                <a:gd name="connsiteY21" fmla="*/ 1162800 h 2327428"/>
                <a:gd name="connsiteX22" fmla="*/ 2676446 w 2676759"/>
                <a:gd name="connsiteY22" fmla="*/ 1162800 h 2327428"/>
                <a:gd name="connsiteX23" fmla="*/ 2674694 w 2676759"/>
                <a:gd name="connsiteY23" fmla="*/ 1159779 h 2327428"/>
                <a:gd name="connsiteX24" fmla="*/ 2676759 w 2676759"/>
                <a:gd name="connsiteY24" fmla="*/ 1156203 h 2327428"/>
                <a:gd name="connsiteX25" fmla="*/ 2672625 w 2676759"/>
                <a:gd name="connsiteY25" fmla="*/ 1156211 h 2327428"/>
                <a:gd name="connsiteX26" fmla="*/ 2003825 w 2676759"/>
                <a:gd name="connsiteY26" fmla="*/ 3109 h 232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76759" h="2327428">
                  <a:moveTo>
                    <a:pt x="2004082" y="2662"/>
                  </a:moveTo>
                  <a:lnTo>
                    <a:pt x="2003566" y="2661"/>
                  </a:lnTo>
                  <a:lnTo>
                    <a:pt x="2003307" y="2215"/>
                  </a:lnTo>
                  <a:lnTo>
                    <a:pt x="2003049" y="2660"/>
                  </a:lnTo>
                  <a:lnTo>
                    <a:pt x="662416" y="0"/>
                  </a:lnTo>
                  <a:lnTo>
                    <a:pt x="666005" y="6216"/>
                  </a:lnTo>
                  <a:lnTo>
                    <a:pt x="516" y="1164179"/>
                  </a:lnTo>
                  <a:lnTo>
                    <a:pt x="0" y="1164180"/>
                  </a:lnTo>
                  <a:lnTo>
                    <a:pt x="257" y="1164627"/>
                  </a:lnTo>
                  <a:lnTo>
                    <a:pt x="1" y="1165075"/>
                  </a:lnTo>
                  <a:lnTo>
                    <a:pt x="516" y="1165076"/>
                  </a:lnTo>
                  <a:lnTo>
                    <a:pt x="663210" y="2318175"/>
                  </a:lnTo>
                  <a:lnTo>
                    <a:pt x="662729" y="2319004"/>
                  </a:lnTo>
                  <a:lnTo>
                    <a:pt x="663686" y="2319004"/>
                  </a:lnTo>
                  <a:lnTo>
                    <a:pt x="668528" y="2327428"/>
                  </a:lnTo>
                  <a:lnTo>
                    <a:pt x="673392" y="2319004"/>
                  </a:lnTo>
                  <a:lnTo>
                    <a:pt x="2001831" y="2319004"/>
                  </a:lnTo>
                  <a:lnTo>
                    <a:pt x="2003619" y="2322115"/>
                  </a:lnTo>
                  <a:lnTo>
                    <a:pt x="2005415" y="2319004"/>
                  </a:lnTo>
                  <a:lnTo>
                    <a:pt x="2009008" y="2319005"/>
                  </a:lnTo>
                  <a:lnTo>
                    <a:pt x="2007207" y="2315900"/>
                  </a:lnTo>
                  <a:lnTo>
                    <a:pt x="2672950" y="1162800"/>
                  </a:lnTo>
                  <a:lnTo>
                    <a:pt x="2676446" y="1162800"/>
                  </a:lnTo>
                  <a:lnTo>
                    <a:pt x="2674694" y="1159779"/>
                  </a:lnTo>
                  <a:lnTo>
                    <a:pt x="2676759" y="1156203"/>
                  </a:lnTo>
                  <a:lnTo>
                    <a:pt x="2672625" y="1156211"/>
                  </a:lnTo>
                  <a:lnTo>
                    <a:pt x="2003825" y="3109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74D7297-985D-492A-A2EA-A22FFF7EC4DA}"/>
                </a:ext>
              </a:extLst>
            </p:cNvPr>
            <p:cNvSpPr/>
            <p:nvPr/>
          </p:nvSpPr>
          <p:spPr>
            <a:xfrm>
              <a:off x="2135984" y="2037964"/>
              <a:ext cx="1321836" cy="92333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none" anchor="ctr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l World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Physical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Object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01EEE9F-99E7-4B6E-A2DC-2A9C3A021988}"/>
              </a:ext>
            </a:extLst>
          </p:cNvPr>
          <p:cNvGrpSpPr/>
          <p:nvPr/>
        </p:nvGrpSpPr>
        <p:grpSpPr>
          <a:xfrm>
            <a:off x="8383655" y="1105589"/>
            <a:ext cx="2391750" cy="2102637"/>
            <a:chOff x="1458521" y="1335914"/>
            <a:chExt cx="2676759" cy="2327428"/>
          </a:xfrm>
          <a:solidFill>
            <a:schemeClr val="accent2">
              <a:lumMod val="50000"/>
            </a:schemeClr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A0FB716-7BBF-4B66-81CF-4E183F808007}"/>
                </a:ext>
              </a:extLst>
            </p:cNvPr>
            <p:cNvSpPr/>
            <p:nvPr/>
          </p:nvSpPr>
          <p:spPr>
            <a:xfrm rot="12600000" flipV="1">
              <a:off x="1458521" y="1335914"/>
              <a:ext cx="2676759" cy="2327428"/>
            </a:xfrm>
            <a:custGeom>
              <a:avLst/>
              <a:gdLst>
                <a:gd name="connsiteX0" fmla="*/ 2004082 w 2676759"/>
                <a:gd name="connsiteY0" fmla="*/ 2662 h 2327428"/>
                <a:gd name="connsiteX1" fmla="*/ 2003566 w 2676759"/>
                <a:gd name="connsiteY1" fmla="*/ 2661 h 2327428"/>
                <a:gd name="connsiteX2" fmla="*/ 2003307 w 2676759"/>
                <a:gd name="connsiteY2" fmla="*/ 2215 h 2327428"/>
                <a:gd name="connsiteX3" fmla="*/ 2003049 w 2676759"/>
                <a:gd name="connsiteY3" fmla="*/ 2660 h 2327428"/>
                <a:gd name="connsiteX4" fmla="*/ 662416 w 2676759"/>
                <a:gd name="connsiteY4" fmla="*/ 0 h 2327428"/>
                <a:gd name="connsiteX5" fmla="*/ 666005 w 2676759"/>
                <a:gd name="connsiteY5" fmla="*/ 6216 h 2327428"/>
                <a:gd name="connsiteX6" fmla="*/ 516 w 2676759"/>
                <a:gd name="connsiteY6" fmla="*/ 1164179 h 2327428"/>
                <a:gd name="connsiteX7" fmla="*/ 0 w 2676759"/>
                <a:gd name="connsiteY7" fmla="*/ 1164180 h 2327428"/>
                <a:gd name="connsiteX8" fmla="*/ 257 w 2676759"/>
                <a:gd name="connsiteY8" fmla="*/ 1164627 h 2327428"/>
                <a:gd name="connsiteX9" fmla="*/ 1 w 2676759"/>
                <a:gd name="connsiteY9" fmla="*/ 1165075 h 2327428"/>
                <a:gd name="connsiteX10" fmla="*/ 516 w 2676759"/>
                <a:gd name="connsiteY10" fmla="*/ 1165076 h 2327428"/>
                <a:gd name="connsiteX11" fmla="*/ 663210 w 2676759"/>
                <a:gd name="connsiteY11" fmla="*/ 2318175 h 2327428"/>
                <a:gd name="connsiteX12" fmla="*/ 662729 w 2676759"/>
                <a:gd name="connsiteY12" fmla="*/ 2319004 h 2327428"/>
                <a:gd name="connsiteX13" fmla="*/ 663686 w 2676759"/>
                <a:gd name="connsiteY13" fmla="*/ 2319004 h 2327428"/>
                <a:gd name="connsiteX14" fmla="*/ 668528 w 2676759"/>
                <a:gd name="connsiteY14" fmla="*/ 2327428 h 2327428"/>
                <a:gd name="connsiteX15" fmla="*/ 673392 w 2676759"/>
                <a:gd name="connsiteY15" fmla="*/ 2319004 h 2327428"/>
                <a:gd name="connsiteX16" fmla="*/ 2001831 w 2676759"/>
                <a:gd name="connsiteY16" fmla="*/ 2319004 h 2327428"/>
                <a:gd name="connsiteX17" fmla="*/ 2003619 w 2676759"/>
                <a:gd name="connsiteY17" fmla="*/ 2322115 h 2327428"/>
                <a:gd name="connsiteX18" fmla="*/ 2005415 w 2676759"/>
                <a:gd name="connsiteY18" fmla="*/ 2319004 h 2327428"/>
                <a:gd name="connsiteX19" fmla="*/ 2009008 w 2676759"/>
                <a:gd name="connsiteY19" fmla="*/ 2319005 h 2327428"/>
                <a:gd name="connsiteX20" fmla="*/ 2007207 w 2676759"/>
                <a:gd name="connsiteY20" fmla="*/ 2315900 h 2327428"/>
                <a:gd name="connsiteX21" fmla="*/ 2672950 w 2676759"/>
                <a:gd name="connsiteY21" fmla="*/ 1162800 h 2327428"/>
                <a:gd name="connsiteX22" fmla="*/ 2676446 w 2676759"/>
                <a:gd name="connsiteY22" fmla="*/ 1162800 h 2327428"/>
                <a:gd name="connsiteX23" fmla="*/ 2674694 w 2676759"/>
                <a:gd name="connsiteY23" fmla="*/ 1159779 h 2327428"/>
                <a:gd name="connsiteX24" fmla="*/ 2676759 w 2676759"/>
                <a:gd name="connsiteY24" fmla="*/ 1156203 h 2327428"/>
                <a:gd name="connsiteX25" fmla="*/ 2672625 w 2676759"/>
                <a:gd name="connsiteY25" fmla="*/ 1156211 h 2327428"/>
                <a:gd name="connsiteX26" fmla="*/ 2003825 w 2676759"/>
                <a:gd name="connsiteY26" fmla="*/ 3109 h 232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76759" h="2327428">
                  <a:moveTo>
                    <a:pt x="2004082" y="2662"/>
                  </a:moveTo>
                  <a:lnTo>
                    <a:pt x="2003566" y="2661"/>
                  </a:lnTo>
                  <a:lnTo>
                    <a:pt x="2003307" y="2215"/>
                  </a:lnTo>
                  <a:lnTo>
                    <a:pt x="2003049" y="2660"/>
                  </a:lnTo>
                  <a:lnTo>
                    <a:pt x="662416" y="0"/>
                  </a:lnTo>
                  <a:lnTo>
                    <a:pt x="666005" y="6216"/>
                  </a:lnTo>
                  <a:lnTo>
                    <a:pt x="516" y="1164179"/>
                  </a:lnTo>
                  <a:lnTo>
                    <a:pt x="0" y="1164180"/>
                  </a:lnTo>
                  <a:lnTo>
                    <a:pt x="257" y="1164627"/>
                  </a:lnTo>
                  <a:lnTo>
                    <a:pt x="1" y="1165075"/>
                  </a:lnTo>
                  <a:lnTo>
                    <a:pt x="516" y="1165076"/>
                  </a:lnTo>
                  <a:lnTo>
                    <a:pt x="663210" y="2318175"/>
                  </a:lnTo>
                  <a:lnTo>
                    <a:pt x="662729" y="2319004"/>
                  </a:lnTo>
                  <a:lnTo>
                    <a:pt x="663686" y="2319004"/>
                  </a:lnTo>
                  <a:lnTo>
                    <a:pt x="668528" y="2327428"/>
                  </a:lnTo>
                  <a:lnTo>
                    <a:pt x="673392" y="2319004"/>
                  </a:lnTo>
                  <a:lnTo>
                    <a:pt x="2001831" y="2319004"/>
                  </a:lnTo>
                  <a:lnTo>
                    <a:pt x="2003619" y="2322115"/>
                  </a:lnTo>
                  <a:lnTo>
                    <a:pt x="2005415" y="2319004"/>
                  </a:lnTo>
                  <a:lnTo>
                    <a:pt x="2009008" y="2319005"/>
                  </a:lnTo>
                  <a:lnTo>
                    <a:pt x="2007207" y="2315900"/>
                  </a:lnTo>
                  <a:lnTo>
                    <a:pt x="2672950" y="1162800"/>
                  </a:lnTo>
                  <a:lnTo>
                    <a:pt x="2676446" y="1162800"/>
                  </a:lnTo>
                  <a:lnTo>
                    <a:pt x="2674694" y="1159779"/>
                  </a:lnTo>
                  <a:lnTo>
                    <a:pt x="2676759" y="1156203"/>
                  </a:lnTo>
                  <a:lnTo>
                    <a:pt x="2672625" y="1156211"/>
                  </a:lnTo>
                  <a:lnTo>
                    <a:pt x="2003825" y="310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0FBC1BB-5F0F-42CC-A274-080EED5A4A54}"/>
                </a:ext>
              </a:extLst>
            </p:cNvPr>
            <p:cNvSpPr/>
            <p:nvPr/>
          </p:nvSpPr>
          <p:spPr>
            <a:xfrm>
              <a:off x="2127489" y="2037964"/>
              <a:ext cx="1338829" cy="9233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none" anchor="ctr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l World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Information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Object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8F36470-B983-406D-B9A7-2FFA540161BC}"/>
              </a:ext>
            </a:extLst>
          </p:cNvPr>
          <p:cNvGrpSpPr/>
          <p:nvPr/>
        </p:nvGrpSpPr>
        <p:grpSpPr>
          <a:xfrm>
            <a:off x="4899716" y="4002437"/>
            <a:ext cx="2637149" cy="2339641"/>
            <a:chOff x="4606973" y="2134115"/>
            <a:chExt cx="2951401" cy="2589769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6A49158-DCE4-4514-8879-375F9A8237D9}"/>
                </a:ext>
              </a:extLst>
            </p:cNvPr>
            <p:cNvGrpSpPr/>
            <p:nvPr/>
          </p:nvGrpSpPr>
          <p:grpSpPr>
            <a:xfrm>
              <a:off x="4772484" y="2709854"/>
              <a:ext cx="1249060" cy="2014030"/>
              <a:chOff x="8253320" y="4014450"/>
              <a:chExt cx="1249060" cy="2014030"/>
            </a:xfrm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D846214-AB89-40BD-B24C-A0BB0D128229}"/>
                  </a:ext>
                </a:extLst>
              </p:cNvPr>
              <p:cNvSpPr/>
              <p:nvPr/>
            </p:nvSpPr>
            <p:spPr>
              <a:xfrm rot="16200000" flipV="1">
                <a:off x="7870835" y="4438509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BC5ED0A-14AD-4A89-81D3-E2FBAE07B942}"/>
                  </a:ext>
                </a:extLst>
              </p:cNvPr>
              <p:cNvSpPr/>
              <p:nvPr/>
            </p:nvSpPr>
            <p:spPr>
              <a:xfrm rot="1800000">
                <a:off x="8253320" y="4698299"/>
                <a:ext cx="1249060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Function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6EFD2B9-05B1-46B8-92A9-247C1AB502E6}"/>
                </a:ext>
              </a:extLst>
            </p:cNvPr>
            <p:cNvGrpSpPr/>
            <p:nvPr/>
          </p:nvGrpSpPr>
          <p:grpSpPr>
            <a:xfrm>
              <a:off x="4969150" y="2134115"/>
              <a:ext cx="2014030" cy="1165911"/>
              <a:chOff x="8449986" y="3438711"/>
              <a:chExt cx="2014030" cy="1165911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7B7BF43A-58B5-4435-B207-0A08B1C32E9C}"/>
                  </a:ext>
                </a:extLst>
              </p:cNvPr>
              <p:cNvSpPr/>
              <p:nvPr/>
            </p:nvSpPr>
            <p:spPr>
              <a:xfrm rot="12600000" flipV="1">
                <a:off x="8449986" y="3438711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6C9E0E4-E127-4851-8DE6-F2CA242D08EE}"/>
                  </a:ext>
                </a:extLst>
              </p:cNvPr>
              <p:cNvSpPr/>
              <p:nvPr/>
            </p:nvSpPr>
            <p:spPr>
              <a:xfrm>
                <a:off x="8935063" y="3682020"/>
                <a:ext cx="1043876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Physic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1863722-8285-4DCF-A627-8255A07B6CEC}"/>
                </a:ext>
              </a:extLst>
            </p:cNvPr>
            <p:cNvGrpSpPr/>
            <p:nvPr/>
          </p:nvGrpSpPr>
          <p:grpSpPr>
            <a:xfrm>
              <a:off x="5544344" y="3136962"/>
              <a:ext cx="2014030" cy="1165911"/>
              <a:chOff x="9034416" y="4441558"/>
              <a:chExt cx="2014030" cy="1165911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2547E4D5-610A-4D8A-A2B0-1AEF72CECA47}"/>
                  </a:ext>
                </a:extLst>
              </p:cNvPr>
              <p:cNvSpPr/>
              <p:nvPr/>
            </p:nvSpPr>
            <p:spPr>
              <a:xfrm rot="19800000" flipV="1">
                <a:off x="9034416" y="4441558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5C09CC4-FF93-44B0-A81A-709098A853A6}"/>
                  </a:ext>
                </a:extLst>
              </p:cNvPr>
              <p:cNvSpPr/>
              <p:nvPr/>
            </p:nvSpPr>
            <p:spPr>
              <a:xfrm rot="19800000">
                <a:off x="9660557" y="4701348"/>
                <a:ext cx="761747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Other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sp>
          <p:nvSpPr>
            <p:cNvPr id="25" name="Hexagon 1">
              <a:extLst>
                <a:ext uri="{FF2B5EF4-FFF2-40B4-BE49-F238E27FC236}">
                  <a16:creationId xmlns:a16="http://schemas.microsoft.com/office/drawing/2014/main" id="{2E71871F-BE11-4E8D-B7EB-9798DDC54319}"/>
                </a:ext>
              </a:extLst>
            </p:cNvPr>
            <p:cNvSpPr/>
            <p:nvPr/>
          </p:nvSpPr>
          <p:spPr>
            <a:xfrm rot="1800000">
              <a:off x="4606973" y="2194348"/>
              <a:ext cx="2733384" cy="2373837"/>
            </a:xfrm>
            <a:custGeom>
              <a:avLst/>
              <a:gdLst>
                <a:gd name="connsiteX0" fmla="*/ 0 w 2628787"/>
                <a:gd name="connsiteY0" fmla="*/ 1133098 h 2266196"/>
                <a:gd name="connsiteX1" fmla="*/ 566549 w 2628787"/>
                <a:gd name="connsiteY1" fmla="*/ 1 h 2266196"/>
                <a:gd name="connsiteX2" fmla="*/ 2062238 w 2628787"/>
                <a:gd name="connsiteY2" fmla="*/ 1 h 2266196"/>
                <a:gd name="connsiteX3" fmla="*/ 2628787 w 2628787"/>
                <a:gd name="connsiteY3" fmla="*/ 1133098 h 2266196"/>
                <a:gd name="connsiteX4" fmla="*/ 2062238 w 2628787"/>
                <a:gd name="connsiteY4" fmla="*/ 2266195 h 2266196"/>
                <a:gd name="connsiteX5" fmla="*/ 566549 w 2628787"/>
                <a:gd name="connsiteY5" fmla="*/ 2266195 h 2266196"/>
                <a:gd name="connsiteX6" fmla="*/ 0 w 2628787"/>
                <a:gd name="connsiteY6" fmla="*/ 1133098 h 2266196"/>
                <a:gd name="connsiteX0" fmla="*/ 0 w 2692686"/>
                <a:gd name="connsiteY0" fmla="*/ 1146173 h 2266194"/>
                <a:gd name="connsiteX1" fmla="*/ 630448 w 2692686"/>
                <a:gd name="connsiteY1" fmla="*/ 0 h 2266194"/>
                <a:gd name="connsiteX2" fmla="*/ 2126137 w 2692686"/>
                <a:gd name="connsiteY2" fmla="*/ 0 h 2266194"/>
                <a:gd name="connsiteX3" fmla="*/ 2692686 w 2692686"/>
                <a:gd name="connsiteY3" fmla="*/ 1133097 h 2266194"/>
                <a:gd name="connsiteX4" fmla="*/ 2126137 w 2692686"/>
                <a:gd name="connsiteY4" fmla="*/ 2266194 h 2266194"/>
                <a:gd name="connsiteX5" fmla="*/ 630448 w 2692686"/>
                <a:gd name="connsiteY5" fmla="*/ 2266194 h 2266194"/>
                <a:gd name="connsiteX6" fmla="*/ 0 w 2692686"/>
                <a:gd name="connsiteY6" fmla="*/ 1146173 h 2266194"/>
                <a:gd name="connsiteX0" fmla="*/ 0 w 2692686"/>
                <a:gd name="connsiteY0" fmla="*/ 1184824 h 2304845"/>
                <a:gd name="connsiteX1" fmla="*/ 692812 w 2692686"/>
                <a:gd name="connsiteY1" fmla="*/ 0 h 2304845"/>
                <a:gd name="connsiteX2" fmla="*/ 2126137 w 2692686"/>
                <a:gd name="connsiteY2" fmla="*/ 38651 h 2304845"/>
                <a:gd name="connsiteX3" fmla="*/ 2692686 w 2692686"/>
                <a:gd name="connsiteY3" fmla="*/ 1171748 h 2304845"/>
                <a:gd name="connsiteX4" fmla="*/ 2126137 w 2692686"/>
                <a:gd name="connsiteY4" fmla="*/ 2304845 h 2304845"/>
                <a:gd name="connsiteX5" fmla="*/ 630448 w 2692686"/>
                <a:gd name="connsiteY5" fmla="*/ 2304845 h 2304845"/>
                <a:gd name="connsiteX6" fmla="*/ 0 w 2692686"/>
                <a:gd name="connsiteY6" fmla="*/ 1184824 h 2304845"/>
                <a:gd name="connsiteX0" fmla="*/ 0 w 2692686"/>
                <a:gd name="connsiteY0" fmla="*/ 1184824 h 2304845"/>
                <a:gd name="connsiteX1" fmla="*/ 692812 w 2692686"/>
                <a:gd name="connsiteY1" fmla="*/ 0 h 2304845"/>
                <a:gd name="connsiteX2" fmla="*/ 2046726 w 2692686"/>
                <a:gd name="connsiteY2" fmla="*/ 15696 h 2304845"/>
                <a:gd name="connsiteX3" fmla="*/ 2692686 w 2692686"/>
                <a:gd name="connsiteY3" fmla="*/ 1171748 h 2304845"/>
                <a:gd name="connsiteX4" fmla="*/ 2126137 w 2692686"/>
                <a:gd name="connsiteY4" fmla="*/ 2304845 h 2304845"/>
                <a:gd name="connsiteX5" fmla="*/ 630448 w 2692686"/>
                <a:gd name="connsiteY5" fmla="*/ 2304845 h 2304845"/>
                <a:gd name="connsiteX6" fmla="*/ 0 w 2692686"/>
                <a:gd name="connsiteY6" fmla="*/ 1184824 h 2304845"/>
                <a:gd name="connsiteX0" fmla="*/ 0 w 2736822"/>
                <a:gd name="connsiteY0" fmla="*/ 1184824 h 2304845"/>
                <a:gd name="connsiteX1" fmla="*/ 692812 w 2736822"/>
                <a:gd name="connsiteY1" fmla="*/ 0 h 2304845"/>
                <a:gd name="connsiteX2" fmla="*/ 2046726 w 2736822"/>
                <a:gd name="connsiteY2" fmla="*/ 15696 h 2304845"/>
                <a:gd name="connsiteX3" fmla="*/ 2736822 w 2736822"/>
                <a:gd name="connsiteY3" fmla="*/ 1188607 h 2304845"/>
                <a:gd name="connsiteX4" fmla="*/ 2126137 w 2736822"/>
                <a:gd name="connsiteY4" fmla="*/ 2304845 h 2304845"/>
                <a:gd name="connsiteX5" fmla="*/ 630448 w 2736822"/>
                <a:gd name="connsiteY5" fmla="*/ 2304845 h 2304845"/>
                <a:gd name="connsiteX6" fmla="*/ 0 w 2736822"/>
                <a:gd name="connsiteY6" fmla="*/ 1184824 h 2304845"/>
                <a:gd name="connsiteX0" fmla="*/ 0 w 2736822"/>
                <a:gd name="connsiteY0" fmla="*/ 1184824 h 2385603"/>
                <a:gd name="connsiteX1" fmla="*/ 692812 w 2736822"/>
                <a:gd name="connsiteY1" fmla="*/ 0 h 2385603"/>
                <a:gd name="connsiteX2" fmla="*/ 2046726 w 2736822"/>
                <a:gd name="connsiteY2" fmla="*/ 15696 h 2385603"/>
                <a:gd name="connsiteX3" fmla="*/ 2736822 w 2736822"/>
                <a:gd name="connsiteY3" fmla="*/ 1188607 h 2385603"/>
                <a:gd name="connsiteX4" fmla="*/ 2126137 w 2736822"/>
                <a:gd name="connsiteY4" fmla="*/ 2304845 h 2385603"/>
                <a:gd name="connsiteX5" fmla="*/ 687659 w 2736822"/>
                <a:gd name="connsiteY5" fmla="*/ 2385603 h 2385603"/>
                <a:gd name="connsiteX6" fmla="*/ 0 w 2736822"/>
                <a:gd name="connsiteY6" fmla="*/ 1184824 h 2385603"/>
                <a:gd name="connsiteX0" fmla="*/ 0 w 2736822"/>
                <a:gd name="connsiteY0" fmla="*/ 1184824 h 2385603"/>
                <a:gd name="connsiteX1" fmla="*/ 692812 w 2736822"/>
                <a:gd name="connsiteY1" fmla="*/ 0 h 2385603"/>
                <a:gd name="connsiteX2" fmla="*/ 2046726 w 2736822"/>
                <a:gd name="connsiteY2" fmla="*/ 15696 h 2385603"/>
                <a:gd name="connsiteX3" fmla="*/ 2736822 w 2736822"/>
                <a:gd name="connsiteY3" fmla="*/ 1188607 h 2385603"/>
                <a:gd name="connsiteX4" fmla="*/ 2058207 w 2736822"/>
                <a:gd name="connsiteY4" fmla="*/ 2370526 h 2385603"/>
                <a:gd name="connsiteX5" fmla="*/ 687659 w 2736822"/>
                <a:gd name="connsiteY5" fmla="*/ 2385603 h 2385603"/>
                <a:gd name="connsiteX6" fmla="*/ 0 w 2736822"/>
                <a:gd name="connsiteY6" fmla="*/ 1184824 h 2385603"/>
                <a:gd name="connsiteX0" fmla="*/ 0 w 2733384"/>
                <a:gd name="connsiteY0" fmla="*/ 1190779 h 2385603"/>
                <a:gd name="connsiteX1" fmla="*/ 689374 w 2733384"/>
                <a:gd name="connsiteY1" fmla="*/ 0 h 2385603"/>
                <a:gd name="connsiteX2" fmla="*/ 2043288 w 2733384"/>
                <a:gd name="connsiteY2" fmla="*/ 15696 h 2385603"/>
                <a:gd name="connsiteX3" fmla="*/ 2733384 w 2733384"/>
                <a:gd name="connsiteY3" fmla="*/ 1188607 h 2385603"/>
                <a:gd name="connsiteX4" fmla="*/ 2054769 w 2733384"/>
                <a:gd name="connsiteY4" fmla="*/ 2370526 h 2385603"/>
                <a:gd name="connsiteX5" fmla="*/ 684221 w 2733384"/>
                <a:gd name="connsiteY5" fmla="*/ 2385603 h 2385603"/>
                <a:gd name="connsiteX6" fmla="*/ 0 w 2733384"/>
                <a:gd name="connsiteY6" fmla="*/ 1190779 h 2385603"/>
                <a:gd name="connsiteX0" fmla="*/ 0 w 2733384"/>
                <a:gd name="connsiteY0" fmla="*/ 1190779 h 2379650"/>
                <a:gd name="connsiteX1" fmla="*/ 689374 w 2733384"/>
                <a:gd name="connsiteY1" fmla="*/ 0 h 2379650"/>
                <a:gd name="connsiteX2" fmla="*/ 2043288 w 2733384"/>
                <a:gd name="connsiteY2" fmla="*/ 15696 h 2379650"/>
                <a:gd name="connsiteX3" fmla="*/ 2733384 w 2733384"/>
                <a:gd name="connsiteY3" fmla="*/ 1188607 h 2379650"/>
                <a:gd name="connsiteX4" fmla="*/ 2054769 w 2733384"/>
                <a:gd name="connsiteY4" fmla="*/ 2370526 h 2379650"/>
                <a:gd name="connsiteX5" fmla="*/ 680784 w 2733384"/>
                <a:gd name="connsiteY5" fmla="*/ 2379650 h 2379650"/>
                <a:gd name="connsiteX6" fmla="*/ 0 w 2733384"/>
                <a:gd name="connsiteY6" fmla="*/ 1190779 h 2379650"/>
                <a:gd name="connsiteX0" fmla="*/ 0 w 2733384"/>
                <a:gd name="connsiteY0" fmla="*/ 1190779 h 2381328"/>
                <a:gd name="connsiteX1" fmla="*/ 689374 w 2733384"/>
                <a:gd name="connsiteY1" fmla="*/ 0 h 2381328"/>
                <a:gd name="connsiteX2" fmla="*/ 2043288 w 2733384"/>
                <a:gd name="connsiteY2" fmla="*/ 15696 h 2381328"/>
                <a:gd name="connsiteX3" fmla="*/ 2733384 w 2733384"/>
                <a:gd name="connsiteY3" fmla="*/ 1188607 h 2381328"/>
                <a:gd name="connsiteX4" fmla="*/ 2054769 w 2733384"/>
                <a:gd name="connsiteY4" fmla="*/ 2370526 h 2381328"/>
                <a:gd name="connsiteX5" fmla="*/ 687045 w 2733384"/>
                <a:gd name="connsiteY5" fmla="*/ 2381328 h 2381328"/>
                <a:gd name="connsiteX6" fmla="*/ 0 w 2733384"/>
                <a:gd name="connsiteY6" fmla="*/ 1190779 h 2381328"/>
                <a:gd name="connsiteX0" fmla="*/ 0 w 2733384"/>
                <a:gd name="connsiteY0" fmla="*/ 1190779 h 2381328"/>
                <a:gd name="connsiteX1" fmla="*/ 689374 w 2733384"/>
                <a:gd name="connsiteY1" fmla="*/ 0 h 2381328"/>
                <a:gd name="connsiteX2" fmla="*/ 2043288 w 2733384"/>
                <a:gd name="connsiteY2" fmla="*/ 15696 h 2381328"/>
                <a:gd name="connsiteX3" fmla="*/ 2733384 w 2733384"/>
                <a:gd name="connsiteY3" fmla="*/ 1188607 h 2381328"/>
                <a:gd name="connsiteX4" fmla="*/ 2054769 w 2733384"/>
                <a:gd name="connsiteY4" fmla="*/ 2370526 h 2381328"/>
                <a:gd name="connsiteX5" fmla="*/ 687045 w 2733384"/>
                <a:gd name="connsiteY5" fmla="*/ 2381328 h 2381328"/>
                <a:gd name="connsiteX6" fmla="*/ 0 w 2733384"/>
                <a:gd name="connsiteY6" fmla="*/ 1190779 h 2381328"/>
                <a:gd name="connsiteX0" fmla="*/ 0 w 2733384"/>
                <a:gd name="connsiteY0" fmla="*/ 1190779 h 2390987"/>
                <a:gd name="connsiteX1" fmla="*/ 689374 w 2733384"/>
                <a:gd name="connsiteY1" fmla="*/ 0 h 2390987"/>
                <a:gd name="connsiteX2" fmla="*/ 2043288 w 2733384"/>
                <a:gd name="connsiteY2" fmla="*/ 15696 h 2390987"/>
                <a:gd name="connsiteX3" fmla="*/ 2733384 w 2733384"/>
                <a:gd name="connsiteY3" fmla="*/ 1188607 h 2390987"/>
                <a:gd name="connsiteX4" fmla="*/ 2055997 w 2733384"/>
                <a:gd name="connsiteY4" fmla="*/ 2390987 h 2390987"/>
                <a:gd name="connsiteX5" fmla="*/ 687045 w 2733384"/>
                <a:gd name="connsiteY5" fmla="*/ 2381328 h 2390987"/>
                <a:gd name="connsiteX6" fmla="*/ 0 w 2733384"/>
                <a:gd name="connsiteY6" fmla="*/ 1190779 h 2390987"/>
                <a:gd name="connsiteX0" fmla="*/ 0 w 2733384"/>
                <a:gd name="connsiteY0" fmla="*/ 1190779 h 2384725"/>
                <a:gd name="connsiteX1" fmla="*/ 689374 w 2733384"/>
                <a:gd name="connsiteY1" fmla="*/ 0 h 2384725"/>
                <a:gd name="connsiteX2" fmla="*/ 2043288 w 2733384"/>
                <a:gd name="connsiteY2" fmla="*/ 15696 h 2384725"/>
                <a:gd name="connsiteX3" fmla="*/ 2733384 w 2733384"/>
                <a:gd name="connsiteY3" fmla="*/ 1188607 h 2384725"/>
                <a:gd name="connsiteX4" fmla="*/ 2057675 w 2733384"/>
                <a:gd name="connsiteY4" fmla="*/ 2384725 h 2384725"/>
                <a:gd name="connsiteX5" fmla="*/ 687045 w 2733384"/>
                <a:gd name="connsiteY5" fmla="*/ 2381328 h 2384725"/>
                <a:gd name="connsiteX6" fmla="*/ 0 w 2733384"/>
                <a:gd name="connsiteY6" fmla="*/ 1190779 h 2384725"/>
                <a:gd name="connsiteX0" fmla="*/ 0 w 2733384"/>
                <a:gd name="connsiteY0" fmla="*/ 1190779 h 2381594"/>
                <a:gd name="connsiteX1" fmla="*/ 689374 w 2733384"/>
                <a:gd name="connsiteY1" fmla="*/ 0 h 2381594"/>
                <a:gd name="connsiteX2" fmla="*/ 2043288 w 2733384"/>
                <a:gd name="connsiteY2" fmla="*/ 15696 h 2381594"/>
                <a:gd name="connsiteX3" fmla="*/ 2733384 w 2733384"/>
                <a:gd name="connsiteY3" fmla="*/ 1188607 h 2381594"/>
                <a:gd name="connsiteX4" fmla="*/ 2058513 w 2733384"/>
                <a:gd name="connsiteY4" fmla="*/ 2381594 h 2381594"/>
                <a:gd name="connsiteX5" fmla="*/ 687045 w 2733384"/>
                <a:gd name="connsiteY5" fmla="*/ 2381328 h 2381594"/>
                <a:gd name="connsiteX6" fmla="*/ 0 w 2733384"/>
                <a:gd name="connsiteY6" fmla="*/ 1190779 h 2381594"/>
                <a:gd name="connsiteX0" fmla="*/ 0 w 2733384"/>
                <a:gd name="connsiteY0" fmla="*/ 1181080 h 2371895"/>
                <a:gd name="connsiteX1" fmla="*/ 681743 w 2733384"/>
                <a:gd name="connsiteY1" fmla="*/ 0 h 2371895"/>
                <a:gd name="connsiteX2" fmla="*/ 2043288 w 2733384"/>
                <a:gd name="connsiteY2" fmla="*/ 5997 h 2371895"/>
                <a:gd name="connsiteX3" fmla="*/ 2733384 w 2733384"/>
                <a:gd name="connsiteY3" fmla="*/ 1178908 h 2371895"/>
                <a:gd name="connsiteX4" fmla="*/ 2058513 w 2733384"/>
                <a:gd name="connsiteY4" fmla="*/ 2371895 h 2371895"/>
                <a:gd name="connsiteX5" fmla="*/ 687045 w 2733384"/>
                <a:gd name="connsiteY5" fmla="*/ 2371629 h 2371895"/>
                <a:gd name="connsiteX6" fmla="*/ 0 w 2733384"/>
                <a:gd name="connsiteY6" fmla="*/ 1181080 h 2371895"/>
                <a:gd name="connsiteX0" fmla="*/ 0 w 2733384"/>
                <a:gd name="connsiteY0" fmla="*/ 1182227 h 2373042"/>
                <a:gd name="connsiteX1" fmla="*/ 683728 w 2733384"/>
                <a:gd name="connsiteY1" fmla="*/ 0 h 2373042"/>
                <a:gd name="connsiteX2" fmla="*/ 2043288 w 2733384"/>
                <a:gd name="connsiteY2" fmla="*/ 7144 h 2373042"/>
                <a:gd name="connsiteX3" fmla="*/ 2733384 w 2733384"/>
                <a:gd name="connsiteY3" fmla="*/ 1180055 h 2373042"/>
                <a:gd name="connsiteX4" fmla="*/ 2058513 w 2733384"/>
                <a:gd name="connsiteY4" fmla="*/ 2373042 h 2373042"/>
                <a:gd name="connsiteX5" fmla="*/ 687045 w 2733384"/>
                <a:gd name="connsiteY5" fmla="*/ 2372776 h 2373042"/>
                <a:gd name="connsiteX6" fmla="*/ 0 w 2733384"/>
                <a:gd name="connsiteY6" fmla="*/ 1182227 h 2373042"/>
                <a:gd name="connsiteX0" fmla="*/ 0 w 2733384"/>
                <a:gd name="connsiteY0" fmla="*/ 1182227 h 2373042"/>
                <a:gd name="connsiteX1" fmla="*/ 683728 w 2733384"/>
                <a:gd name="connsiteY1" fmla="*/ 0 h 2373042"/>
                <a:gd name="connsiteX2" fmla="*/ 2043288 w 2733384"/>
                <a:gd name="connsiteY2" fmla="*/ 7144 h 2373042"/>
                <a:gd name="connsiteX3" fmla="*/ 2733384 w 2733384"/>
                <a:gd name="connsiteY3" fmla="*/ 1180055 h 2373042"/>
                <a:gd name="connsiteX4" fmla="*/ 2058513 w 2733384"/>
                <a:gd name="connsiteY4" fmla="*/ 2373042 h 2373042"/>
                <a:gd name="connsiteX5" fmla="*/ 687045 w 2733384"/>
                <a:gd name="connsiteY5" fmla="*/ 2372776 h 2373042"/>
                <a:gd name="connsiteX6" fmla="*/ 0 w 2733384"/>
                <a:gd name="connsiteY6" fmla="*/ 1182227 h 2373042"/>
                <a:gd name="connsiteX0" fmla="*/ 0 w 2733384"/>
                <a:gd name="connsiteY0" fmla="*/ 1184518 h 2375333"/>
                <a:gd name="connsiteX1" fmla="*/ 687697 w 2733384"/>
                <a:gd name="connsiteY1" fmla="*/ 0 h 2375333"/>
                <a:gd name="connsiteX2" fmla="*/ 2043288 w 2733384"/>
                <a:gd name="connsiteY2" fmla="*/ 9435 h 2375333"/>
                <a:gd name="connsiteX3" fmla="*/ 2733384 w 2733384"/>
                <a:gd name="connsiteY3" fmla="*/ 1182346 h 2375333"/>
                <a:gd name="connsiteX4" fmla="*/ 2058513 w 2733384"/>
                <a:gd name="connsiteY4" fmla="*/ 2375333 h 2375333"/>
                <a:gd name="connsiteX5" fmla="*/ 687045 w 2733384"/>
                <a:gd name="connsiteY5" fmla="*/ 2375067 h 2375333"/>
                <a:gd name="connsiteX6" fmla="*/ 0 w 2733384"/>
                <a:gd name="connsiteY6" fmla="*/ 1184518 h 2375333"/>
                <a:gd name="connsiteX0" fmla="*/ 0 w 2733384"/>
                <a:gd name="connsiteY0" fmla="*/ 1177950 h 2368765"/>
                <a:gd name="connsiteX1" fmla="*/ 680904 w 2733384"/>
                <a:gd name="connsiteY1" fmla="*/ 0 h 2368765"/>
                <a:gd name="connsiteX2" fmla="*/ 2043288 w 2733384"/>
                <a:gd name="connsiteY2" fmla="*/ 2867 h 2368765"/>
                <a:gd name="connsiteX3" fmla="*/ 2733384 w 2733384"/>
                <a:gd name="connsiteY3" fmla="*/ 1175778 h 2368765"/>
                <a:gd name="connsiteX4" fmla="*/ 2058513 w 2733384"/>
                <a:gd name="connsiteY4" fmla="*/ 2368765 h 2368765"/>
                <a:gd name="connsiteX5" fmla="*/ 687045 w 2733384"/>
                <a:gd name="connsiteY5" fmla="*/ 2368499 h 2368765"/>
                <a:gd name="connsiteX6" fmla="*/ 0 w 2733384"/>
                <a:gd name="connsiteY6" fmla="*/ 1177950 h 2368765"/>
                <a:gd name="connsiteX0" fmla="*/ 0 w 2733384"/>
                <a:gd name="connsiteY0" fmla="*/ 1181388 h 2372203"/>
                <a:gd name="connsiteX1" fmla="*/ 686858 w 2733384"/>
                <a:gd name="connsiteY1" fmla="*/ 0 h 2372203"/>
                <a:gd name="connsiteX2" fmla="*/ 2043288 w 2733384"/>
                <a:gd name="connsiteY2" fmla="*/ 6305 h 2372203"/>
                <a:gd name="connsiteX3" fmla="*/ 2733384 w 2733384"/>
                <a:gd name="connsiteY3" fmla="*/ 1179216 h 2372203"/>
                <a:gd name="connsiteX4" fmla="*/ 2058513 w 2733384"/>
                <a:gd name="connsiteY4" fmla="*/ 2372203 h 2372203"/>
                <a:gd name="connsiteX5" fmla="*/ 687045 w 2733384"/>
                <a:gd name="connsiteY5" fmla="*/ 2371937 h 2372203"/>
                <a:gd name="connsiteX6" fmla="*/ 0 w 2733384"/>
                <a:gd name="connsiteY6" fmla="*/ 1181388 h 2372203"/>
                <a:gd name="connsiteX0" fmla="*/ 0 w 2733384"/>
                <a:gd name="connsiteY0" fmla="*/ 1183022 h 2373837"/>
                <a:gd name="connsiteX1" fmla="*/ 686858 w 2733384"/>
                <a:gd name="connsiteY1" fmla="*/ 1634 h 2373837"/>
                <a:gd name="connsiteX2" fmla="*/ 2038705 w 2733384"/>
                <a:gd name="connsiteY2" fmla="*/ 0 h 2373837"/>
                <a:gd name="connsiteX3" fmla="*/ 2733384 w 2733384"/>
                <a:gd name="connsiteY3" fmla="*/ 1180850 h 2373837"/>
                <a:gd name="connsiteX4" fmla="*/ 2058513 w 2733384"/>
                <a:gd name="connsiteY4" fmla="*/ 2373837 h 2373837"/>
                <a:gd name="connsiteX5" fmla="*/ 687045 w 2733384"/>
                <a:gd name="connsiteY5" fmla="*/ 2373571 h 2373837"/>
                <a:gd name="connsiteX6" fmla="*/ 0 w 2733384"/>
                <a:gd name="connsiteY6" fmla="*/ 1183022 h 237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3384" h="2373837">
                  <a:moveTo>
                    <a:pt x="0" y="1183022"/>
                  </a:moveTo>
                  <a:lnTo>
                    <a:pt x="686858" y="1634"/>
                  </a:lnTo>
                  <a:lnTo>
                    <a:pt x="2038705" y="0"/>
                  </a:lnTo>
                  <a:lnTo>
                    <a:pt x="2733384" y="1180850"/>
                  </a:lnTo>
                  <a:lnTo>
                    <a:pt x="2058513" y="2373837"/>
                  </a:lnTo>
                  <a:lnTo>
                    <a:pt x="687045" y="2373571"/>
                  </a:lnTo>
                  <a:lnTo>
                    <a:pt x="0" y="1183022"/>
                  </a:lnTo>
                  <a:close/>
                </a:path>
              </a:pathLst>
            </a:custGeom>
            <a:noFill/>
            <a:ln w="1682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439227A-C171-4726-9464-DAFE3D135962}"/>
              </a:ext>
            </a:extLst>
          </p:cNvPr>
          <p:cNvGrpSpPr/>
          <p:nvPr/>
        </p:nvGrpSpPr>
        <p:grpSpPr>
          <a:xfrm>
            <a:off x="1383903" y="3959314"/>
            <a:ext cx="2442345" cy="2339641"/>
            <a:chOff x="4606973" y="2134115"/>
            <a:chExt cx="2733384" cy="258976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2AFB705-8C9A-4EBD-8804-9DB0F0962232}"/>
                </a:ext>
              </a:extLst>
            </p:cNvPr>
            <p:cNvGrpSpPr/>
            <p:nvPr/>
          </p:nvGrpSpPr>
          <p:grpSpPr>
            <a:xfrm>
              <a:off x="4772484" y="2709854"/>
              <a:ext cx="1249060" cy="2014030"/>
              <a:chOff x="8253320" y="4014450"/>
              <a:chExt cx="1249060" cy="2014030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38FDDF4A-8E53-4DE2-B887-F6CA909989F4}"/>
                  </a:ext>
                </a:extLst>
              </p:cNvPr>
              <p:cNvSpPr/>
              <p:nvPr/>
            </p:nvSpPr>
            <p:spPr>
              <a:xfrm rot="16200000" flipV="1">
                <a:off x="7870835" y="4438509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595B4F6B-3C8C-4594-A619-CE2ECACD48F4}"/>
                  </a:ext>
                </a:extLst>
              </p:cNvPr>
              <p:cNvSpPr/>
              <p:nvPr/>
            </p:nvSpPr>
            <p:spPr>
              <a:xfrm rot="1800000">
                <a:off x="8253320" y="4698299"/>
                <a:ext cx="1249060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Function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3992ABA7-5D6A-4167-92C4-9A60F62D97E8}"/>
                </a:ext>
              </a:extLst>
            </p:cNvPr>
            <p:cNvGrpSpPr/>
            <p:nvPr/>
          </p:nvGrpSpPr>
          <p:grpSpPr>
            <a:xfrm>
              <a:off x="4969150" y="2134115"/>
              <a:ext cx="2014030" cy="1165911"/>
              <a:chOff x="8449986" y="3438711"/>
              <a:chExt cx="2014030" cy="1165911"/>
            </a:xfrm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50CBCDB2-F96A-48A8-A0E9-72B84DE3BC9E}"/>
                  </a:ext>
                </a:extLst>
              </p:cNvPr>
              <p:cNvSpPr/>
              <p:nvPr/>
            </p:nvSpPr>
            <p:spPr>
              <a:xfrm rot="12600000" flipV="1">
                <a:off x="8449986" y="3438711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AAEF43-6938-4D2E-A088-9C1F8EC660C3}"/>
                  </a:ext>
                </a:extLst>
              </p:cNvPr>
              <p:cNvSpPr/>
              <p:nvPr/>
            </p:nvSpPr>
            <p:spPr>
              <a:xfrm>
                <a:off x="8471007" y="3830594"/>
                <a:ext cx="1971991" cy="71542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 err="1">
                    <a:solidFill>
                      <a:schemeClr val="bg1"/>
                    </a:solidFill>
                  </a:rPr>
                  <a:t>SpatialLocation</a:t>
                </a:r>
                <a:endParaRPr lang="en-US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8A47FCD1-6443-428F-AFF7-FE4DD024BC35}"/>
                </a:ext>
              </a:extLst>
            </p:cNvPr>
            <p:cNvSpPr/>
            <p:nvPr/>
          </p:nvSpPr>
          <p:spPr>
            <a:xfrm rot="19800000">
              <a:off x="6170485" y="3396752"/>
              <a:ext cx="761747" cy="646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Other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Entity</a:t>
              </a:r>
            </a:p>
          </p:txBody>
        </p:sp>
        <p:sp>
          <p:nvSpPr>
            <p:cNvPr id="33" name="Hexagon 1">
              <a:extLst>
                <a:ext uri="{FF2B5EF4-FFF2-40B4-BE49-F238E27FC236}">
                  <a16:creationId xmlns:a16="http://schemas.microsoft.com/office/drawing/2014/main" id="{BE10ED0A-11BE-445E-A050-CF6F4008EF34}"/>
                </a:ext>
              </a:extLst>
            </p:cNvPr>
            <p:cNvSpPr/>
            <p:nvPr/>
          </p:nvSpPr>
          <p:spPr>
            <a:xfrm rot="1800000">
              <a:off x="4606973" y="2194348"/>
              <a:ext cx="2733384" cy="2373837"/>
            </a:xfrm>
            <a:custGeom>
              <a:avLst/>
              <a:gdLst>
                <a:gd name="connsiteX0" fmla="*/ 0 w 2628787"/>
                <a:gd name="connsiteY0" fmla="*/ 1133098 h 2266196"/>
                <a:gd name="connsiteX1" fmla="*/ 566549 w 2628787"/>
                <a:gd name="connsiteY1" fmla="*/ 1 h 2266196"/>
                <a:gd name="connsiteX2" fmla="*/ 2062238 w 2628787"/>
                <a:gd name="connsiteY2" fmla="*/ 1 h 2266196"/>
                <a:gd name="connsiteX3" fmla="*/ 2628787 w 2628787"/>
                <a:gd name="connsiteY3" fmla="*/ 1133098 h 2266196"/>
                <a:gd name="connsiteX4" fmla="*/ 2062238 w 2628787"/>
                <a:gd name="connsiteY4" fmla="*/ 2266195 h 2266196"/>
                <a:gd name="connsiteX5" fmla="*/ 566549 w 2628787"/>
                <a:gd name="connsiteY5" fmla="*/ 2266195 h 2266196"/>
                <a:gd name="connsiteX6" fmla="*/ 0 w 2628787"/>
                <a:gd name="connsiteY6" fmla="*/ 1133098 h 2266196"/>
                <a:gd name="connsiteX0" fmla="*/ 0 w 2692686"/>
                <a:gd name="connsiteY0" fmla="*/ 1146173 h 2266194"/>
                <a:gd name="connsiteX1" fmla="*/ 630448 w 2692686"/>
                <a:gd name="connsiteY1" fmla="*/ 0 h 2266194"/>
                <a:gd name="connsiteX2" fmla="*/ 2126137 w 2692686"/>
                <a:gd name="connsiteY2" fmla="*/ 0 h 2266194"/>
                <a:gd name="connsiteX3" fmla="*/ 2692686 w 2692686"/>
                <a:gd name="connsiteY3" fmla="*/ 1133097 h 2266194"/>
                <a:gd name="connsiteX4" fmla="*/ 2126137 w 2692686"/>
                <a:gd name="connsiteY4" fmla="*/ 2266194 h 2266194"/>
                <a:gd name="connsiteX5" fmla="*/ 630448 w 2692686"/>
                <a:gd name="connsiteY5" fmla="*/ 2266194 h 2266194"/>
                <a:gd name="connsiteX6" fmla="*/ 0 w 2692686"/>
                <a:gd name="connsiteY6" fmla="*/ 1146173 h 2266194"/>
                <a:gd name="connsiteX0" fmla="*/ 0 w 2692686"/>
                <a:gd name="connsiteY0" fmla="*/ 1184824 h 2304845"/>
                <a:gd name="connsiteX1" fmla="*/ 692812 w 2692686"/>
                <a:gd name="connsiteY1" fmla="*/ 0 h 2304845"/>
                <a:gd name="connsiteX2" fmla="*/ 2126137 w 2692686"/>
                <a:gd name="connsiteY2" fmla="*/ 38651 h 2304845"/>
                <a:gd name="connsiteX3" fmla="*/ 2692686 w 2692686"/>
                <a:gd name="connsiteY3" fmla="*/ 1171748 h 2304845"/>
                <a:gd name="connsiteX4" fmla="*/ 2126137 w 2692686"/>
                <a:gd name="connsiteY4" fmla="*/ 2304845 h 2304845"/>
                <a:gd name="connsiteX5" fmla="*/ 630448 w 2692686"/>
                <a:gd name="connsiteY5" fmla="*/ 2304845 h 2304845"/>
                <a:gd name="connsiteX6" fmla="*/ 0 w 2692686"/>
                <a:gd name="connsiteY6" fmla="*/ 1184824 h 2304845"/>
                <a:gd name="connsiteX0" fmla="*/ 0 w 2692686"/>
                <a:gd name="connsiteY0" fmla="*/ 1184824 h 2304845"/>
                <a:gd name="connsiteX1" fmla="*/ 692812 w 2692686"/>
                <a:gd name="connsiteY1" fmla="*/ 0 h 2304845"/>
                <a:gd name="connsiteX2" fmla="*/ 2046726 w 2692686"/>
                <a:gd name="connsiteY2" fmla="*/ 15696 h 2304845"/>
                <a:gd name="connsiteX3" fmla="*/ 2692686 w 2692686"/>
                <a:gd name="connsiteY3" fmla="*/ 1171748 h 2304845"/>
                <a:gd name="connsiteX4" fmla="*/ 2126137 w 2692686"/>
                <a:gd name="connsiteY4" fmla="*/ 2304845 h 2304845"/>
                <a:gd name="connsiteX5" fmla="*/ 630448 w 2692686"/>
                <a:gd name="connsiteY5" fmla="*/ 2304845 h 2304845"/>
                <a:gd name="connsiteX6" fmla="*/ 0 w 2692686"/>
                <a:gd name="connsiteY6" fmla="*/ 1184824 h 2304845"/>
                <a:gd name="connsiteX0" fmla="*/ 0 w 2736822"/>
                <a:gd name="connsiteY0" fmla="*/ 1184824 h 2304845"/>
                <a:gd name="connsiteX1" fmla="*/ 692812 w 2736822"/>
                <a:gd name="connsiteY1" fmla="*/ 0 h 2304845"/>
                <a:gd name="connsiteX2" fmla="*/ 2046726 w 2736822"/>
                <a:gd name="connsiteY2" fmla="*/ 15696 h 2304845"/>
                <a:gd name="connsiteX3" fmla="*/ 2736822 w 2736822"/>
                <a:gd name="connsiteY3" fmla="*/ 1188607 h 2304845"/>
                <a:gd name="connsiteX4" fmla="*/ 2126137 w 2736822"/>
                <a:gd name="connsiteY4" fmla="*/ 2304845 h 2304845"/>
                <a:gd name="connsiteX5" fmla="*/ 630448 w 2736822"/>
                <a:gd name="connsiteY5" fmla="*/ 2304845 h 2304845"/>
                <a:gd name="connsiteX6" fmla="*/ 0 w 2736822"/>
                <a:gd name="connsiteY6" fmla="*/ 1184824 h 2304845"/>
                <a:gd name="connsiteX0" fmla="*/ 0 w 2736822"/>
                <a:gd name="connsiteY0" fmla="*/ 1184824 h 2385603"/>
                <a:gd name="connsiteX1" fmla="*/ 692812 w 2736822"/>
                <a:gd name="connsiteY1" fmla="*/ 0 h 2385603"/>
                <a:gd name="connsiteX2" fmla="*/ 2046726 w 2736822"/>
                <a:gd name="connsiteY2" fmla="*/ 15696 h 2385603"/>
                <a:gd name="connsiteX3" fmla="*/ 2736822 w 2736822"/>
                <a:gd name="connsiteY3" fmla="*/ 1188607 h 2385603"/>
                <a:gd name="connsiteX4" fmla="*/ 2126137 w 2736822"/>
                <a:gd name="connsiteY4" fmla="*/ 2304845 h 2385603"/>
                <a:gd name="connsiteX5" fmla="*/ 687659 w 2736822"/>
                <a:gd name="connsiteY5" fmla="*/ 2385603 h 2385603"/>
                <a:gd name="connsiteX6" fmla="*/ 0 w 2736822"/>
                <a:gd name="connsiteY6" fmla="*/ 1184824 h 2385603"/>
                <a:gd name="connsiteX0" fmla="*/ 0 w 2736822"/>
                <a:gd name="connsiteY0" fmla="*/ 1184824 h 2385603"/>
                <a:gd name="connsiteX1" fmla="*/ 692812 w 2736822"/>
                <a:gd name="connsiteY1" fmla="*/ 0 h 2385603"/>
                <a:gd name="connsiteX2" fmla="*/ 2046726 w 2736822"/>
                <a:gd name="connsiteY2" fmla="*/ 15696 h 2385603"/>
                <a:gd name="connsiteX3" fmla="*/ 2736822 w 2736822"/>
                <a:gd name="connsiteY3" fmla="*/ 1188607 h 2385603"/>
                <a:gd name="connsiteX4" fmla="*/ 2058207 w 2736822"/>
                <a:gd name="connsiteY4" fmla="*/ 2370526 h 2385603"/>
                <a:gd name="connsiteX5" fmla="*/ 687659 w 2736822"/>
                <a:gd name="connsiteY5" fmla="*/ 2385603 h 2385603"/>
                <a:gd name="connsiteX6" fmla="*/ 0 w 2736822"/>
                <a:gd name="connsiteY6" fmla="*/ 1184824 h 2385603"/>
                <a:gd name="connsiteX0" fmla="*/ 0 w 2733384"/>
                <a:gd name="connsiteY0" fmla="*/ 1190779 h 2385603"/>
                <a:gd name="connsiteX1" fmla="*/ 689374 w 2733384"/>
                <a:gd name="connsiteY1" fmla="*/ 0 h 2385603"/>
                <a:gd name="connsiteX2" fmla="*/ 2043288 w 2733384"/>
                <a:gd name="connsiteY2" fmla="*/ 15696 h 2385603"/>
                <a:gd name="connsiteX3" fmla="*/ 2733384 w 2733384"/>
                <a:gd name="connsiteY3" fmla="*/ 1188607 h 2385603"/>
                <a:gd name="connsiteX4" fmla="*/ 2054769 w 2733384"/>
                <a:gd name="connsiteY4" fmla="*/ 2370526 h 2385603"/>
                <a:gd name="connsiteX5" fmla="*/ 684221 w 2733384"/>
                <a:gd name="connsiteY5" fmla="*/ 2385603 h 2385603"/>
                <a:gd name="connsiteX6" fmla="*/ 0 w 2733384"/>
                <a:gd name="connsiteY6" fmla="*/ 1190779 h 2385603"/>
                <a:gd name="connsiteX0" fmla="*/ 0 w 2733384"/>
                <a:gd name="connsiteY0" fmla="*/ 1190779 h 2379650"/>
                <a:gd name="connsiteX1" fmla="*/ 689374 w 2733384"/>
                <a:gd name="connsiteY1" fmla="*/ 0 h 2379650"/>
                <a:gd name="connsiteX2" fmla="*/ 2043288 w 2733384"/>
                <a:gd name="connsiteY2" fmla="*/ 15696 h 2379650"/>
                <a:gd name="connsiteX3" fmla="*/ 2733384 w 2733384"/>
                <a:gd name="connsiteY3" fmla="*/ 1188607 h 2379650"/>
                <a:gd name="connsiteX4" fmla="*/ 2054769 w 2733384"/>
                <a:gd name="connsiteY4" fmla="*/ 2370526 h 2379650"/>
                <a:gd name="connsiteX5" fmla="*/ 680784 w 2733384"/>
                <a:gd name="connsiteY5" fmla="*/ 2379650 h 2379650"/>
                <a:gd name="connsiteX6" fmla="*/ 0 w 2733384"/>
                <a:gd name="connsiteY6" fmla="*/ 1190779 h 2379650"/>
                <a:gd name="connsiteX0" fmla="*/ 0 w 2733384"/>
                <a:gd name="connsiteY0" fmla="*/ 1190779 h 2381328"/>
                <a:gd name="connsiteX1" fmla="*/ 689374 w 2733384"/>
                <a:gd name="connsiteY1" fmla="*/ 0 h 2381328"/>
                <a:gd name="connsiteX2" fmla="*/ 2043288 w 2733384"/>
                <a:gd name="connsiteY2" fmla="*/ 15696 h 2381328"/>
                <a:gd name="connsiteX3" fmla="*/ 2733384 w 2733384"/>
                <a:gd name="connsiteY3" fmla="*/ 1188607 h 2381328"/>
                <a:gd name="connsiteX4" fmla="*/ 2054769 w 2733384"/>
                <a:gd name="connsiteY4" fmla="*/ 2370526 h 2381328"/>
                <a:gd name="connsiteX5" fmla="*/ 687045 w 2733384"/>
                <a:gd name="connsiteY5" fmla="*/ 2381328 h 2381328"/>
                <a:gd name="connsiteX6" fmla="*/ 0 w 2733384"/>
                <a:gd name="connsiteY6" fmla="*/ 1190779 h 2381328"/>
                <a:gd name="connsiteX0" fmla="*/ 0 w 2733384"/>
                <a:gd name="connsiteY0" fmla="*/ 1190779 h 2381328"/>
                <a:gd name="connsiteX1" fmla="*/ 689374 w 2733384"/>
                <a:gd name="connsiteY1" fmla="*/ 0 h 2381328"/>
                <a:gd name="connsiteX2" fmla="*/ 2043288 w 2733384"/>
                <a:gd name="connsiteY2" fmla="*/ 15696 h 2381328"/>
                <a:gd name="connsiteX3" fmla="*/ 2733384 w 2733384"/>
                <a:gd name="connsiteY3" fmla="*/ 1188607 h 2381328"/>
                <a:gd name="connsiteX4" fmla="*/ 2054769 w 2733384"/>
                <a:gd name="connsiteY4" fmla="*/ 2370526 h 2381328"/>
                <a:gd name="connsiteX5" fmla="*/ 687045 w 2733384"/>
                <a:gd name="connsiteY5" fmla="*/ 2381328 h 2381328"/>
                <a:gd name="connsiteX6" fmla="*/ 0 w 2733384"/>
                <a:gd name="connsiteY6" fmla="*/ 1190779 h 2381328"/>
                <a:gd name="connsiteX0" fmla="*/ 0 w 2733384"/>
                <a:gd name="connsiteY0" fmla="*/ 1190779 h 2390987"/>
                <a:gd name="connsiteX1" fmla="*/ 689374 w 2733384"/>
                <a:gd name="connsiteY1" fmla="*/ 0 h 2390987"/>
                <a:gd name="connsiteX2" fmla="*/ 2043288 w 2733384"/>
                <a:gd name="connsiteY2" fmla="*/ 15696 h 2390987"/>
                <a:gd name="connsiteX3" fmla="*/ 2733384 w 2733384"/>
                <a:gd name="connsiteY3" fmla="*/ 1188607 h 2390987"/>
                <a:gd name="connsiteX4" fmla="*/ 2055997 w 2733384"/>
                <a:gd name="connsiteY4" fmla="*/ 2390987 h 2390987"/>
                <a:gd name="connsiteX5" fmla="*/ 687045 w 2733384"/>
                <a:gd name="connsiteY5" fmla="*/ 2381328 h 2390987"/>
                <a:gd name="connsiteX6" fmla="*/ 0 w 2733384"/>
                <a:gd name="connsiteY6" fmla="*/ 1190779 h 2390987"/>
                <a:gd name="connsiteX0" fmla="*/ 0 w 2733384"/>
                <a:gd name="connsiteY0" fmla="*/ 1190779 h 2384725"/>
                <a:gd name="connsiteX1" fmla="*/ 689374 w 2733384"/>
                <a:gd name="connsiteY1" fmla="*/ 0 h 2384725"/>
                <a:gd name="connsiteX2" fmla="*/ 2043288 w 2733384"/>
                <a:gd name="connsiteY2" fmla="*/ 15696 h 2384725"/>
                <a:gd name="connsiteX3" fmla="*/ 2733384 w 2733384"/>
                <a:gd name="connsiteY3" fmla="*/ 1188607 h 2384725"/>
                <a:gd name="connsiteX4" fmla="*/ 2057675 w 2733384"/>
                <a:gd name="connsiteY4" fmla="*/ 2384725 h 2384725"/>
                <a:gd name="connsiteX5" fmla="*/ 687045 w 2733384"/>
                <a:gd name="connsiteY5" fmla="*/ 2381328 h 2384725"/>
                <a:gd name="connsiteX6" fmla="*/ 0 w 2733384"/>
                <a:gd name="connsiteY6" fmla="*/ 1190779 h 2384725"/>
                <a:gd name="connsiteX0" fmla="*/ 0 w 2733384"/>
                <a:gd name="connsiteY0" fmla="*/ 1190779 h 2381594"/>
                <a:gd name="connsiteX1" fmla="*/ 689374 w 2733384"/>
                <a:gd name="connsiteY1" fmla="*/ 0 h 2381594"/>
                <a:gd name="connsiteX2" fmla="*/ 2043288 w 2733384"/>
                <a:gd name="connsiteY2" fmla="*/ 15696 h 2381594"/>
                <a:gd name="connsiteX3" fmla="*/ 2733384 w 2733384"/>
                <a:gd name="connsiteY3" fmla="*/ 1188607 h 2381594"/>
                <a:gd name="connsiteX4" fmla="*/ 2058513 w 2733384"/>
                <a:gd name="connsiteY4" fmla="*/ 2381594 h 2381594"/>
                <a:gd name="connsiteX5" fmla="*/ 687045 w 2733384"/>
                <a:gd name="connsiteY5" fmla="*/ 2381328 h 2381594"/>
                <a:gd name="connsiteX6" fmla="*/ 0 w 2733384"/>
                <a:gd name="connsiteY6" fmla="*/ 1190779 h 2381594"/>
                <a:gd name="connsiteX0" fmla="*/ 0 w 2733384"/>
                <a:gd name="connsiteY0" fmla="*/ 1181080 h 2371895"/>
                <a:gd name="connsiteX1" fmla="*/ 681743 w 2733384"/>
                <a:gd name="connsiteY1" fmla="*/ 0 h 2371895"/>
                <a:gd name="connsiteX2" fmla="*/ 2043288 w 2733384"/>
                <a:gd name="connsiteY2" fmla="*/ 5997 h 2371895"/>
                <a:gd name="connsiteX3" fmla="*/ 2733384 w 2733384"/>
                <a:gd name="connsiteY3" fmla="*/ 1178908 h 2371895"/>
                <a:gd name="connsiteX4" fmla="*/ 2058513 w 2733384"/>
                <a:gd name="connsiteY4" fmla="*/ 2371895 h 2371895"/>
                <a:gd name="connsiteX5" fmla="*/ 687045 w 2733384"/>
                <a:gd name="connsiteY5" fmla="*/ 2371629 h 2371895"/>
                <a:gd name="connsiteX6" fmla="*/ 0 w 2733384"/>
                <a:gd name="connsiteY6" fmla="*/ 1181080 h 2371895"/>
                <a:gd name="connsiteX0" fmla="*/ 0 w 2733384"/>
                <a:gd name="connsiteY0" fmla="*/ 1182227 h 2373042"/>
                <a:gd name="connsiteX1" fmla="*/ 683728 w 2733384"/>
                <a:gd name="connsiteY1" fmla="*/ 0 h 2373042"/>
                <a:gd name="connsiteX2" fmla="*/ 2043288 w 2733384"/>
                <a:gd name="connsiteY2" fmla="*/ 7144 h 2373042"/>
                <a:gd name="connsiteX3" fmla="*/ 2733384 w 2733384"/>
                <a:gd name="connsiteY3" fmla="*/ 1180055 h 2373042"/>
                <a:gd name="connsiteX4" fmla="*/ 2058513 w 2733384"/>
                <a:gd name="connsiteY4" fmla="*/ 2373042 h 2373042"/>
                <a:gd name="connsiteX5" fmla="*/ 687045 w 2733384"/>
                <a:gd name="connsiteY5" fmla="*/ 2372776 h 2373042"/>
                <a:gd name="connsiteX6" fmla="*/ 0 w 2733384"/>
                <a:gd name="connsiteY6" fmla="*/ 1182227 h 2373042"/>
                <a:gd name="connsiteX0" fmla="*/ 0 w 2733384"/>
                <a:gd name="connsiteY0" fmla="*/ 1182227 h 2373042"/>
                <a:gd name="connsiteX1" fmla="*/ 683728 w 2733384"/>
                <a:gd name="connsiteY1" fmla="*/ 0 h 2373042"/>
                <a:gd name="connsiteX2" fmla="*/ 2043288 w 2733384"/>
                <a:gd name="connsiteY2" fmla="*/ 7144 h 2373042"/>
                <a:gd name="connsiteX3" fmla="*/ 2733384 w 2733384"/>
                <a:gd name="connsiteY3" fmla="*/ 1180055 h 2373042"/>
                <a:gd name="connsiteX4" fmla="*/ 2058513 w 2733384"/>
                <a:gd name="connsiteY4" fmla="*/ 2373042 h 2373042"/>
                <a:gd name="connsiteX5" fmla="*/ 687045 w 2733384"/>
                <a:gd name="connsiteY5" fmla="*/ 2372776 h 2373042"/>
                <a:gd name="connsiteX6" fmla="*/ 0 w 2733384"/>
                <a:gd name="connsiteY6" fmla="*/ 1182227 h 2373042"/>
                <a:gd name="connsiteX0" fmla="*/ 0 w 2733384"/>
                <a:gd name="connsiteY0" fmla="*/ 1184518 h 2375333"/>
                <a:gd name="connsiteX1" fmla="*/ 687697 w 2733384"/>
                <a:gd name="connsiteY1" fmla="*/ 0 h 2375333"/>
                <a:gd name="connsiteX2" fmla="*/ 2043288 w 2733384"/>
                <a:gd name="connsiteY2" fmla="*/ 9435 h 2375333"/>
                <a:gd name="connsiteX3" fmla="*/ 2733384 w 2733384"/>
                <a:gd name="connsiteY3" fmla="*/ 1182346 h 2375333"/>
                <a:gd name="connsiteX4" fmla="*/ 2058513 w 2733384"/>
                <a:gd name="connsiteY4" fmla="*/ 2375333 h 2375333"/>
                <a:gd name="connsiteX5" fmla="*/ 687045 w 2733384"/>
                <a:gd name="connsiteY5" fmla="*/ 2375067 h 2375333"/>
                <a:gd name="connsiteX6" fmla="*/ 0 w 2733384"/>
                <a:gd name="connsiteY6" fmla="*/ 1184518 h 2375333"/>
                <a:gd name="connsiteX0" fmla="*/ 0 w 2733384"/>
                <a:gd name="connsiteY0" fmla="*/ 1177950 h 2368765"/>
                <a:gd name="connsiteX1" fmla="*/ 680904 w 2733384"/>
                <a:gd name="connsiteY1" fmla="*/ 0 h 2368765"/>
                <a:gd name="connsiteX2" fmla="*/ 2043288 w 2733384"/>
                <a:gd name="connsiteY2" fmla="*/ 2867 h 2368765"/>
                <a:gd name="connsiteX3" fmla="*/ 2733384 w 2733384"/>
                <a:gd name="connsiteY3" fmla="*/ 1175778 h 2368765"/>
                <a:gd name="connsiteX4" fmla="*/ 2058513 w 2733384"/>
                <a:gd name="connsiteY4" fmla="*/ 2368765 h 2368765"/>
                <a:gd name="connsiteX5" fmla="*/ 687045 w 2733384"/>
                <a:gd name="connsiteY5" fmla="*/ 2368499 h 2368765"/>
                <a:gd name="connsiteX6" fmla="*/ 0 w 2733384"/>
                <a:gd name="connsiteY6" fmla="*/ 1177950 h 2368765"/>
                <a:gd name="connsiteX0" fmla="*/ 0 w 2733384"/>
                <a:gd name="connsiteY0" fmla="*/ 1181388 h 2372203"/>
                <a:gd name="connsiteX1" fmla="*/ 686858 w 2733384"/>
                <a:gd name="connsiteY1" fmla="*/ 0 h 2372203"/>
                <a:gd name="connsiteX2" fmla="*/ 2043288 w 2733384"/>
                <a:gd name="connsiteY2" fmla="*/ 6305 h 2372203"/>
                <a:gd name="connsiteX3" fmla="*/ 2733384 w 2733384"/>
                <a:gd name="connsiteY3" fmla="*/ 1179216 h 2372203"/>
                <a:gd name="connsiteX4" fmla="*/ 2058513 w 2733384"/>
                <a:gd name="connsiteY4" fmla="*/ 2372203 h 2372203"/>
                <a:gd name="connsiteX5" fmla="*/ 687045 w 2733384"/>
                <a:gd name="connsiteY5" fmla="*/ 2371937 h 2372203"/>
                <a:gd name="connsiteX6" fmla="*/ 0 w 2733384"/>
                <a:gd name="connsiteY6" fmla="*/ 1181388 h 2372203"/>
                <a:gd name="connsiteX0" fmla="*/ 0 w 2733384"/>
                <a:gd name="connsiteY0" fmla="*/ 1183022 h 2373837"/>
                <a:gd name="connsiteX1" fmla="*/ 686858 w 2733384"/>
                <a:gd name="connsiteY1" fmla="*/ 1634 h 2373837"/>
                <a:gd name="connsiteX2" fmla="*/ 2038705 w 2733384"/>
                <a:gd name="connsiteY2" fmla="*/ 0 h 2373837"/>
                <a:gd name="connsiteX3" fmla="*/ 2733384 w 2733384"/>
                <a:gd name="connsiteY3" fmla="*/ 1180850 h 2373837"/>
                <a:gd name="connsiteX4" fmla="*/ 2058513 w 2733384"/>
                <a:gd name="connsiteY4" fmla="*/ 2373837 h 2373837"/>
                <a:gd name="connsiteX5" fmla="*/ 687045 w 2733384"/>
                <a:gd name="connsiteY5" fmla="*/ 2373571 h 2373837"/>
                <a:gd name="connsiteX6" fmla="*/ 0 w 2733384"/>
                <a:gd name="connsiteY6" fmla="*/ 1183022 h 237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3384" h="2373837">
                  <a:moveTo>
                    <a:pt x="0" y="1183022"/>
                  </a:moveTo>
                  <a:lnTo>
                    <a:pt x="686858" y="1634"/>
                  </a:lnTo>
                  <a:lnTo>
                    <a:pt x="2038705" y="0"/>
                  </a:lnTo>
                  <a:lnTo>
                    <a:pt x="2733384" y="1180850"/>
                  </a:lnTo>
                  <a:lnTo>
                    <a:pt x="2058513" y="2373837"/>
                  </a:lnTo>
                  <a:lnTo>
                    <a:pt x="687045" y="2373571"/>
                  </a:lnTo>
                  <a:lnTo>
                    <a:pt x="0" y="1183022"/>
                  </a:lnTo>
                  <a:close/>
                </a:path>
              </a:pathLst>
            </a:custGeom>
            <a:noFill/>
            <a:ln w="1682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31B9DC6-ECD7-4CBF-ACC4-53AE4B74859A}"/>
              </a:ext>
            </a:extLst>
          </p:cNvPr>
          <p:cNvGrpSpPr/>
          <p:nvPr/>
        </p:nvGrpSpPr>
        <p:grpSpPr>
          <a:xfrm>
            <a:off x="8358357" y="3842258"/>
            <a:ext cx="2442345" cy="2198980"/>
            <a:chOff x="4606973" y="2134115"/>
            <a:chExt cx="2733384" cy="2434070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F669AA2-28C7-4B81-BF78-ABB1CAE0889E}"/>
                </a:ext>
              </a:extLst>
            </p:cNvPr>
            <p:cNvSpPr/>
            <p:nvPr/>
          </p:nvSpPr>
          <p:spPr>
            <a:xfrm rot="1800000">
              <a:off x="4772484" y="3393703"/>
              <a:ext cx="1249059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Functional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Entity</a:t>
              </a: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7B5FF067-EA04-4403-9D6C-CB3A2B349D35}"/>
                </a:ext>
              </a:extLst>
            </p:cNvPr>
            <p:cNvGrpSpPr/>
            <p:nvPr/>
          </p:nvGrpSpPr>
          <p:grpSpPr>
            <a:xfrm>
              <a:off x="4969150" y="2134115"/>
              <a:ext cx="2014030" cy="1165911"/>
              <a:chOff x="8449986" y="3438711"/>
              <a:chExt cx="2014030" cy="1165911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7E1871D6-1A38-41B2-882B-0051285D7CFA}"/>
                  </a:ext>
                </a:extLst>
              </p:cNvPr>
              <p:cNvSpPr/>
              <p:nvPr/>
            </p:nvSpPr>
            <p:spPr>
              <a:xfrm rot="12600000" flipV="1">
                <a:off x="8449986" y="3438711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37CD2AF-16C8-4D39-8512-F2A21220D18A}"/>
                  </a:ext>
                </a:extLst>
              </p:cNvPr>
              <p:cNvSpPr/>
              <p:nvPr/>
            </p:nvSpPr>
            <p:spPr>
              <a:xfrm>
                <a:off x="8707820" y="3765593"/>
                <a:ext cx="1498368" cy="71542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Information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BF9864C-1C9E-4A24-9732-5EF08471C1E9}"/>
                </a:ext>
              </a:extLst>
            </p:cNvPr>
            <p:cNvSpPr/>
            <p:nvPr/>
          </p:nvSpPr>
          <p:spPr>
            <a:xfrm rot="19800000">
              <a:off x="6170485" y="3396752"/>
              <a:ext cx="761747" cy="646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Other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Entity</a:t>
              </a:r>
            </a:p>
          </p:txBody>
        </p:sp>
        <p:sp>
          <p:nvSpPr>
            <p:cNvPr id="45" name="Hexagon 1">
              <a:extLst>
                <a:ext uri="{FF2B5EF4-FFF2-40B4-BE49-F238E27FC236}">
                  <a16:creationId xmlns:a16="http://schemas.microsoft.com/office/drawing/2014/main" id="{5375CECF-AF09-49C9-86A3-2059BA8F6CC0}"/>
                </a:ext>
              </a:extLst>
            </p:cNvPr>
            <p:cNvSpPr/>
            <p:nvPr/>
          </p:nvSpPr>
          <p:spPr>
            <a:xfrm rot="1800000">
              <a:off x="4606973" y="2194348"/>
              <a:ext cx="2733384" cy="2373837"/>
            </a:xfrm>
            <a:custGeom>
              <a:avLst/>
              <a:gdLst>
                <a:gd name="connsiteX0" fmla="*/ 0 w 2628787"/>
                <a:gd name="connsiteY0" fmla="*/ 1133098 h 2266196"/>
                <a:gd name="connsiteX1" fmla="*/ 566549 w 2628787"/>
                <a:gd name="connsiteY1" fmla="*/ 1 h 2266196"/>
                <a:gd name="connsiteX2" fmla="*/ 2062238 w 2628787"/>
                <a:gd name="connsiteY2" fmla="*/ 1 h 2266196"/>
                <a:gd name="connsiteX3" fmla="*/ 2628787 w 2628787"/>
                <a:gd name="connsiteY3" fmla="*/ 1133098 h 2266196"/>
                <a:gd name="connsiteX4" fmla="*/ 2062238 w 2628787"/>
                <a:gd name="connsiteY4" fmla="*/ 2266195 h 2266196"/>
                <a:gd name="connsiteX5" fmla="*/ 566549 w 2628787"/>
                <a:gd name="connsiteY5" fmla="*/ 2266195 h 2266196"/>
                <a:gd name="connsiteX6" fmla="*/ 0 w 2628787"/>
                <a:gd name="connsiteY6" fmla="*/ 1133098 h 2266196"/>
                <a:gd name="connsiteX0" fmla="*/ 0 w 2692686"/>
                <a:gd name="connsiteY0" fmla="*/ 1146173 h 2266194"/>
                <a:gd name="connsiteX1" fmla="*/ 630448 w 2692686"/>
                <a:gd name="connsiteY1" fmla="*/ 0 h 2266194"/>
                <a:gd name="connsiteX2" fmla="*/ 2126137 w 2692686"/>
                <a:gd name="connsiteY2" fmla="*/ 0 h 2266194"/>
                <a:gd name="connsiteX3" fmla="*/ 2692686 w 2692686"/>
                <a:gd name="connsiteY3" fmla="*/ 1133097 h 2266194"/>
                <a:gd name="connsiteX4" fmla="*/ 2126137 w 2692686"/>
                <a:gd name="connsiteY4" fmla="*/ 2266194 h 2266194"/>
                <a:gd name="connsiteX5" fmla="*/ 630448 w 2692686"/>
                <a:gd name="connsiteY5" fmla="*/ 2266194 h 2266194"/>
                <a:gd name="connsiteX6" fmla="*/ 0 w 2692686"/>
                <a:gd name="connsiteY6" fmla="*/ 1146173 h 2266194"/>
                <a:gd name="connsiteX0" fmla="*/ 0 w 2692686"/>
                <a:gd name="connsiteY0" fmla="*/ 1184824 h 2304845"/>
                <a:gd name="connsiteX1" fmla="*/ 692812 w 2692686"/>
                <a:gd name="connsiteY1" fmla="*/ 0 h 2304845"/>
                <a:gd name="connsiteX2" fmla="*/ 2126137 w 2692686"/>
                <a:gd name="connsiteY2" fmla="*/ 38651 h 2304845"/>
                <a:gd name="connsiteX3" fmla="*/ 2692686 w 2692686"/>
                <a:gd name="connsiteY3" fmla="*/ 1171748 h 2304845"/>
                <a:gd name="connsiteX4" fmla="*/ 2126137 w 2692686"/>
                <a:gd name="connsiteY4" fmla="*/ 2304845 h 2304845"/>
                <a:gd name="connsiteX5" fmla="*/ 630448 w 2692686"/>
                <a:gd name="connsiteY5" fmla="*/ 2304845 h 2304845"/>
                <a:gd name="connsiteX6" fmla="*/ 0 w 2692686"/>
                <a:gd name="connsiteY6" fmla="*/ 1184824 h 2304845"/>
                <a:gd name="connsiteX0" fmla="*/ 0 w 2692686"/>
                <a:gd name="connsiteY0" fmla="*/ 1184824 h 2304845"/>
                <a:gd name="connsiteX1" fmla="*/ 692812 w 2692686"/>
                <a:gd name="connsiteY1" fmla="*/ 0 h 2304845"/>
                <a:gd name="connsiteX2" fmla="*/ 2046726 w 2692686"/>
                <a:gd name="connsiteY2" fmla="*/ 15696 h 2304845"/>
                <a:gd name="connsiteX3" fmla="*/ 2692686 w 2692686"/>
                <a:gd name="connsiteY3" fmla="*/ 1171748 h 2304845"/>
                <a:gd name="connsiteX4" fmla="*/ 2126137 w 2692686"/>
                <a:gd name="connsiteY4" fmla="*/ 2304845 h 2304845"/>
                <a:gd name="connsiteX5" fmla="*/ 630448 w 2692686"/>
                <a:gd name="connsiteY5" fmla="*/ 2304845 h 2304845"/>
                <a:gd name="connsiteX6" fmla="*/ 0 w 2692686"/>
                <a:gd name="connsiteY6" fmla="*/ 1184824 h 2304845"/>
                <a:gd name="connsiteX0" fmla="*/ 0 w 2736822"/>
                <a:gd name="connsiteY0" fmla="*/ 1184824 h 2304845"/>
                <a:gd name="connsiteX1" fmla="*/ 692812 w 2736822"/>
                <a:gd name="connsiteY1" fmla="*/ 0 h 2304845"/>
                <a:gd name="connsiteX2" fmla="*/ 2046726 w 2736822"/>
                <a:gd name="connsiteY2" fmla="*/ 15696 h 2304845"/>
                <a:gd name="connsiteX3" fmla="*/ 2736822 w 2736822"/>
                <a:gd name="connsiteY3" fmla="*/ 1188607 h 2304845"/>
                <a:gd name="connsiteX4" fmla="*/ 2126137 w 2736822"/>
                <a:gd name="connsiteY4" fmla="*/ 2304845 h 2304845"/>
                <a:gd name="connsiteX5" fmla="*/ 630448 w 2736822"/>
                <a:gd name="connsiteY5" fmla="*/ 2304845 h 2304845"/>
                <a:gd name="connsiteX6" fmla="*/ 0 w 2736822"/>
                <a:gd name="connsiteY6" fmla="*/ 1184824 h 2304845"/>
                <a:gd name="connsiteX0" fmla="*/ 0 w 2736822"/>
                <a:gd name="connsiteY0" fmla="*/ 1184824 h 2385603"/>
                <a:gd name="connsiteX1" fmla="*/ 692812 w 2736822"/>
                <a:gd name="connsiteY1" fmla="*/ 0 h 2385603"/>
                <a:gd name="connsiteX2" fmla="*/ 2046726 w 2736822"/>
                <a:gd name="connsiteY2" fmla="*/ 15696 h 2385603"/>
                <a:gd name="connsiteX3" fmla="*/ 2736822 w 2736822"/>
                <a:gd name="connsiteY3" fmla="*/ 1188607 h 2385603"/>
                <a:gd name="connsiteX4" fmla="*/ 2126137 w 2736822"/>
                <a:gd name="connsiteY4" fmla="*/ 2304845 h 2385603"/>
                <a:gd name="connsiteX5" fmla="*/ 687659 w 2736822"/>
                <a:gd name="connsiteY5" fmla="*/ 2385603 h 2385603"/>
                <a:gd name="connsiteX6" fmla="*/ 0 w 2736822"/>
                <a:gd name="connsiteY6" fmla="*/ 1184824 h 2385603"/>
                <a:gd name="connsiteX0" fmla="*/ 0 w 2736822"/>
                <a:gd name="connsiteY0" fmla="*/ 1184824 h 2385603"/>
                <a:gd name="connsiteX1" fmla="*/ 692812 w 2736822"/>
                <a:gd name="connsiteY1" fmla="*/ 0 h 2385603"/>
                <a:gd name="connsiteX2" fmla="*/ 2046726 w 2736822"/>
                <a:gd name="connsiteY2" fmla="*/ 15696 h 2385603"/>
                <a:gd name="connsiteX3" fmla="*/ 2736822 w 2736822"/>
                <a:gd name="connsiteY3" fmla="*/ 1188607 h 2385603"/>
                <a:gd name="connsiteX4" fmla="*/ 2058207 w 2736822"/>
                <a:gd name="connsiteY4" fmla="*/ 2370526 h 2385603"/>
                <a:gd name="connsiteX5" fmla="*/ 687659 w 2736822"/>
                <a:gd name="connsiteY5" fmla="*/ 2385603 h 2385603"/>
                <a:gd name="connsiteX6" fmla="*/ 0 w 2736822"/>
                <a:gd name="connsiteY6" fmla="*/ 1184824 h 2385603"/>
                <a:gd name="connsiteX0" fmla="*/ 0 w 2733384"/>
                <a:gd name="connsiteY0" fmla="*/ 1190779 h 2385603"/>
                <a:gd name="connsiteX1" fmla="*/ 689374 w 2733384"/>
                <a:gd name="connsiteY1" fmla="*/ 0 h 2385603"/>
                <a:gd name="connsiteX2" fmla="*/ 2043288 w 2733384"/>
                <a:gd name="connsiteY2" fmla="*/ 15696 h 2385603"/>
                <a:gd name="connsiteX3" fmla="*/ 2733384 w 2733384"/>
                <a:gd name="connsiteY3" fmla="*/ 1188607 h 2385603"/>
                <a:gd name="connsiteX4" fmla="*/ 2054769 w 2733384"/>
                <a:gd name="connsiteY4" fmla="*/ 2370526 h 2385603"/>
                <a:gd name="connsiteX5" fmla="*/ 684221 w 2733384"/>
                <a:gd name="connsiteY5" fmla="*/ 2385603 h 2385603"/>
                <a:gd name="connsiteX6" fmla="*/ 0 w 2733384"/>
                <a:gd name="connsiteY6" fmla="*/ 1190779 h 2385603"/>
                <a:gd name="connsiteX0" fmla="*/ 0 w 2733384"/>
                <a:gd name="connsiteY0" fmla="*/ 1190779 h 2379650"/>
                <a:gd name="connsiteX1" fmla="*/ 689374 w 2733384"/>
                <a:gd name="connsiteY1" fmla="*/ 0 h 2379650"/>
                <a:gd name="connsiteX2" fmla="*/ 2043288 w 2733384"/>
                <a:gd name="connsiteY2" fmla="*/ 15696 h 2379650"/>
                <a:gd name="connsiteX3" fmla="*/ 2733384 w 2733384"/>
                <a:gd name="connsiteY3" fmla="*/ 1188607 h 2379650"/>
                <a:gd name="connsiteX4" fmla="*/ 2054769 w 2733384"/>
                <a:gd name="connsiteY4" fmla="*/ 2370526 h 2379650"/>
                <a:gd name="connsiteX5" fmla="*/ 680784 w 2733384"/>
                <a:gd name="connsiteY5" fmla="*/ 2379650 h 2379650"/>
                <a:gd name="connsiteX6" fmla="*/ 0 w 2733384"/>
                <a:gd name="connsiteY6" fmla="*/ 1190779 h 2379650"/>
                <a:gd name="connsiteX0" fmla="*/ 0 w 2733384"/>
                <a:gd name="connsiteY0" fmla="*/ 1190779 h 2381328"/>
                <a:gd name="connsiteX1" fmla="*/ 689374 w 2733384"/>
                <a:gd name="connsiteY1" fmla="*/ 0 h 2381328"/>
                <a:gd name="connsiteX2" fmla="*/ 2043288 w 2733384"/>
                <a:gd name="connsiteY2" fmla="*/ 15696 h 2381328"/>
                <a:gd name="connsiteX3" fmla="*/ 2733384 w 2733384"/>
                <a:gd name="connsiteY3" fmla="*/ 1188607 h 2381328"/>
                <a:gd name="connsiteX4" fmla="*/ 2054769 w 2733384"/>
                <a:gd name="connsiteY4" fmla="*/ 2370526 h 2381328"/>
                <a:gd name="connsiteX5" fmla="*/ 687045 w 2733384"/>
                <a:gd name="connsiteY5" fmla="*/ 2381328 h 2381328"/>
                <a:gd name="connsiteX6" fmla="*/ 0 w 2733384"/>
                <a:gd name="connsiteY6" fmla="*/ 1190779 h 2381328"/>
                <a:gd name="connsiteX0" fmla="*/ 0 w 2733384"/>
                <a:gd name="connsiteY0" fmla="*/ 1190779 h 2381328"/>
                <a:gd name="connsiteX1" fmla="*/ 689374 w 2733384"/>
                <a:gd name="connsiteY1" fmla="*/ 0 h 2381328"/>
                <a:gd name="connsiteX2" fmla="*/ 2043288 w 2733384"/>
                <a:gd name="connsiteY2" fmla="*/ 15696 h 2381328"/>
                <a:gd name="connsiteX3" fmla="*/ 2733384 w 2733384"/>
                <a:gd name="connsiteY3" fmla="*/ 1188607 h 2381328"/>
                <a:gd name="connsiteX4" fmla="*/ 2054769 w 2733384"/>
                <a:gd name="connsiteY4" fmla="*/ 2370526 h 2381328"/>
                <a:gd name="connsiteX5" fmla="*/ 687045 w 2733384"/>
                <a:gd name="connsiteY5" fmla="*/ 2381328 h 2381328"/>
                <a:gd name="connsiteX6" fmla="*/ 0 w 2733384"/>
                <a:gd name="connsiteY6" fmla="*/ 1190779 h 2381328"/>
                <a:gd name="connsiteX0" fmla="*/ 0 w 2733384"/>
                <a:gd name="connsiteY0" fmla="*/ 1190779 h 2390987"/>
                <a:gd name="connsiteX1" fmla="*/ 689374 w 2733384"/>
                <a:gd name="connsiteY1" fmla="*/ 0 h 2390987"/>
                <a:gd name="connsiteX2" fmla="*/ 2043288 w 2733384"/>
                <a:gd name="connsiteY2" fmla="*/ 15696 h 2390987"/>
                <a:gd name="connsiteX3" fmla="*/ 2733384 w 2733384"/>
                <a:gd name="connsiteY3" fmla="*/ 1188607 h 2390987"/>
                <a:gd name="connsiteX4" fmla="*/ 2055997 w 2733384"/>
                <a:gd name="connsiteY4" fmla="*/ 2390987 h 2390987"/>
                <a:gd name="connsiteX5" fmla="*/ 687045 w 2733384"/>
                <a:gd name="connsiteY5" fmla="*/ 2381328 h 2390987"/>
                <a:gd name="connsiteX6" fmla="*/ 0 w 2733384"/>
                <a:gd name="connsiteY6" fmla="*/ 1190779 h 2390987"/>
                <a:gd name="connsiteX0" fmla="*/ 0 w 2733384"/>
                <a:gd name="connsiteY0" fmla="*/ 1190779 h 2384725"/>
                <a:gd name="connsiteX1" fmla="*/ 689374 w 2733384"/>
                <a:gd name="connsiteY1" fmla="*/ 0 h 2384725"/>
                <a:gd name="connsiteX2" fmla="*/ 2043288 w 2733384"/>
                <a:gd name="connsiteY2" fmla="*/ 15696 h 2384725"/>
                <a:gd name="connsiteX3" fmla="*/ 2733384 w 2733384"/>
                <a:gd name="connsiteY3" fmla="*/ 1188607 h 2384725"/>
                <a:gd name="connsiteX4" fmla="*/ 2057675 w 2733384"/>
                <a:gd name="connsiteY4" fmla="*/ 2384725 h 2384725"/>
                <a:gd name="connsiteX5" fmla="*/ 687045 w 2733384"/>
                <a:gd name="connsiteY5" fmla="*/ 2381328 h 2384725"/>
                <a:gd name="connsiteX6" fmla="*/ 0 w 2733384"/>
                <a:gd name="connsiteY6" fmla="*/ 1190779 h 2384725"/>
                <a:gd name="connsiteX0" fmla="*/ 0 w 2733384"/>
                <a:gd name="connsiteY0" fmla="*/ 1190779 h 2381594"/>
                <a:gd name="connsiteX1" fmla="*/ 689374 w 2733384"/>
                <a:gd name="connsiteY1" fmla="*/ 0 h 2381594"/>
                <a:gd name="connsiteX2" fmla="*/ 2043288 w 2733384"/>
                <a:gd name="connsiteY2" fmla="*/ 15696 h 2381594"/>
                <a:gd name="connsiteX3" fmla="*/ 2733384 w 2733384"/>
                <a:gd name="connsiteY3" fmla="*/ 1188607 h 2381594"/>
                <a:gd name="connsiteX4" fmla="*/ 2058513 w 2733384"/>
                <a:gd name="connsiteY4" fmla="*/ 2381594 h 2381594"/>
                <a:gd name="connsiteX5" fmla="*/ 687045 w 2733384"/>
                <a:gd name="connsiteY5" fmla="*/ 2381328 h 2381594"/>
                <a:gd name="connsiteX6" fmla="*/ 0 w 2733384"/>
                <a:gd name="connsiteY6" fmla="*/ 1190779 h 2381594"/>
                <a:gd name="connsiteX0" fmla="*/ 0 w 2733384"/>
                <a:gd name="connsiteY0" fmla="*/ 1181080 h 2371895"/>
                <a:gd name="connsiteX1" fmla="*/ 681743 w 2733384"/>
                <a:gd name="connsiteY1" fmla="*/ 0 h 2371895"/>
                <a:gd name="connsiteX2" fmla="*/ 2043288 w 2733384"/>
                <a:gd name="connsiteY2" fmla="*/ 5997 h 2371895"/>
                <a:gd name="connsiteX3" fmla="*/ 2733384 w 2733384"/>
                <a:gd name="connsiteY3" fmla="*/ 1178908 h 2371895"/>
                <a:gd name="connsiteX4" fmla="*/ 2058513 w 2733384"/>
                <a:gd name="connsiteY4" fmla="*/ 2371895 h 2371895"/>
                <a:gd name="connsiteX5" fmla="*/ 687045 w 2733384"/>
                <a:gd name="connsiteY5" fmla="*/ 2371629 h 2371895"/>
                <a:gd name="connsiteX6" fmla="*/ 0 w 2733384"/>
                <a:gd name="connsiteY6" fmla="*/ 1181080 h 2371895"/>
                <a:gd name="connsiteX0" fmla="*/ 0 w 2733384"/>
                <a:gd name="connsiteY0" fmla="*/ 1182227 h 2373042"/>
                <a:gd name="connsiteX1" fmla="*/ 683728 w 2733384"/>
                <a:gd name="connsiteY1" fmla="*/ 0 h 2373042"/>
                <a:gd name="connsiteX2" fmla="*/ 2043288 w 2733384"/>
                <a:gd name="connsiteY2" fmla="*/ 7144 h 2373042"/>
                <a:gd name="connsiteX3" fmla="*/ 2733384 w 2733384"/>
                <a:gd name="connsiteY3" fmla="*/ 1180055 h 2373042"/>
                <a:gd name="connsiteX4" fmla="*/ 2058513 w 2733384"/>
                <a:gd name="connsiteY4" fmla="*/ 2373042 h 2373042"/>
                <a:gd name="connsiteX5" fmla="*/ 687045 w 2733384"/>
                <a:gd name="connsiteY5" fmla="*/ 2372776 h 2373042"/>
                <a:gd name="connsiteX6" fmla="*/ 0 w 2733384"/>
                <a:gd name="connsiteY6" fmla="*/ 1182227 h 2373042"/>
                <a:gd name="connsiteX0" fmla="*/ 0 w 2733384"/>
                <a:gd name="connsiteY0" fmla="*/ 1182227 h 2373042"/>
                <a:gd name="connsiteX1" fmla="*/ 683728 w 2733384"/>
                <a:gd name="connsiteY1" fmla="*/ 0 h 2373042"/>
                <a:gd name="connsiteX2" fmla="*/ 2043288 w 2733384"/>
                <a:gd name="connsiteY2" fmla="*/ 7144 h 2373042"/>
                <a:gd name="connsiteX3" fmla="*/ 2733384 w 2733384"/>
                <a:gd name="connsiteY3" fmla="*/ 1180055 h 2373042"/>
                <a:gd name="connsiteX4" fmla="*/ 2058513 w 2733384"/>
                <a:gd name="connsiteY4" fmla="*/ 2373042 h 2373042"/>
                <a:gd name="connsiteX5" fmla="*/ 687045 w 2733384"/>
                <a:gd name="connsiteY5" fmla="*/ 2372776 h 2373042"/>
                <a:gd name="connsiteX6" fmla="*/ 0 w 2733384"/>
                <a:gd name="connsiteY6" fmla="*/ 1182227 h 2373042"/>
                <a:gd name="connsiteX0" fmla="*/ 0 w 2733384"/>
                <a:gd name="connsiteY0" fmla="*/ 1184518 h 2375333"/>
                <a:gd name="connsiteX1" fmla="*/ 687697 w 2733384"/>
                <a:gd name="connsiteY1" fmla="*/ 0 h 2375333"/>
                <a:gd name="connsiteX2" fmla="*/ 2043288 w 2733384"/>
                <a:gd name="connsiteY2" fmla="*/ 9435 h 2375333"/>
                <a:gd name="connsiteX3" fmla="*/ 2733384 w 2733384"/>
                <a:gd name="connsiteY3" fmla="*/ 1182346 h 2375333"/>
                <a:gd name="connsiteX4" fmla="*/ 2058513 w 2733384"/>
                <a:gd name="connsiteY4" fmla="*/ 2375333 h 2375333"/>
                <a:gd name="connsiteX5" fmla="*/ 687045 w 2733384"/>
                <a:gd name="connsiteY5" fmla="*/ 2375067 h 2375333"/>
                <a:gd name="connsiteX6" fmla="*/ 0 w 2733384"/>
                <a:gd name="connsiteY6" fmla="*/ 1184518 h 2375333"/>
                <a:gd name="connsiteX0" fmla="*/ 0 w 2733384"/>
                <a:gd name="connsiteY0" fmla="*/ 1177950 h 2368765"/>
                <a:gd name="connsiteX1" fmla="*/ 680904 w 2733384"/>
                <a:gd name="connsiteY1" fmla="*/ 0 h 2368765"/>
                <a:gd name="connsiteX2" fmla="*/ 2043288 w 2733384"/>
                <a:gd name="connsiteY2" fmla="*/ 2867 h 2368765"/>
                <a:gd name="connsiteX3" fmla="*/ 2733384 w 2733384"/>
                <a:gd name="connsiteY3" fmla="*/ 1175778 h 2368765"/>
                <a:gd name="connsiteX4" fmla="*/ 2058513 w 2733384"/>
                <a:gd name="connsiteY4" fmla="*/ 2368765 h 2368765"/>
                <a:gd name="connsiteX5" fmla="*/ 687045 w 2733384"/>
                <a:gd name="connsiteY5" fmla="*/ 2368499 h 2368765"/>
                <a:gd name="connsiteX6" fmla="*/ 0 w 2733384"/>
                <a:gd name="connsiteY6" fmla="*/ 1177950 h 2368765"/>
                <a:gd name="connsiteX0" fmla="*/ 0 w 2733384"/>
                <a:gd name="connsiteY0" fmla="*/ 1181388 h 2372203"/>
                <a:gd name="connsiteX1" fmla="*/ 686858 w 2733384"/>
                <a:gd name="connsiteY1" fmla="*/ 0 h 2372203"/>
                <a:gd name="connsiteX2" fmla="*/ 2043288 w 2733384"/>
                <a:gd name="connsiteY2" fmla="*/ 6305 h 2372203"/>
                <a:gd name="connsiteX3" fmla="*/ 2733384 w 2733384"/>
                <a:gd name="connsiteY3" fmla="*/ 1179216 h 2372203"/>
                <a:gd name="connsiteX4" fmla="*/ 2058513 w 2733384"/>
                <a:gd name="connsiteY4" fmla="*/ 2372203 h 2372203"/>
                <a:gd name="connsiteX5" fmla="*/ 687045 w 2733384"/>
                <a:gd name="connsiteY5" fmla="*/ 2371937 h 2372203"/>
                <a:gd name="connsiteX6" fmla="*/ 0 w 2733384"/>
                <a:gd name="connsiteY6" fmla="*/ 1181388 h 2372203"/>
                <a:gd name="connsiteX0" fmla="*/ 0 w 2733384"/>
                <a:gd name="connsiteY0" fmla="*/ 1183022 h 2373837"/>
                <a:gd name="connsiteX1" fmla="*/ 686858 w 2733384"/>
                <a:gd name="connsiteY1" fmla="*/ 1634 h 2373837"/>
                <a:gd name="connsiteX2" fmla="*/ 2038705 w 2733384"/>
                <a:gd name="connsiteY2" fmla="*/ 0 h 2373837"/>
                <a:gd name="connsiteX3" fmla="*/ 2733384 w 2733384"/>
                <a:gd name="connsiteY3" fmla="*/ 1180850 h 2373837"/>
                <a:gd name="connsiteX4" fmla="*/ 2058513 w 2733384"/>
                <a:gd name="connsiteY4" fmla="*/ 2373837 h 2373837"/>
                <a:gd name="connsiteX5" fmla="*/ 687045 w 2733384"/>
                <a:gd name="connsiteY5" fmla="*/ 2373571 h 2373837"/>
                <a:gd name="connsiteX6" fmla="*/ 0 w 2733384"/>
                <a:gd name="connsiteY6" fmla="*/ 1183022 h 237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3384" h="2373837">
                  <a:moveTo>
                    <a:pt x="0" y="1183022"/>
                  </a:moveTo>
                  <a:lnTo>
                    <a:pt x="686858" y="1634"/>
                  </a:lnTo>
                  <a:lnTo>
                    <a:pt x="2038705" y="0"/>
                  </a:lnTo>
                  <a:lnTo>
                    <a:pt x="2733384" y="1180850"/>
                  </a:lnTo>
                  <a:lnTo>
                    <a:pt x="2058513" y="2373837"/>
                  </a:lnTo>
                  <a:lnTo>
                    <a:pt x="687045" y="2373571"/>
                  </a:lnTo>
                  <a:lnTo>
                    <a:pt x="0" y="1183022"/>
                  </a:lnTo>
                  <a:close/>
                </a:path>
              </a:pathLst>
            </a:custGeom>
            <a:noFill/>
            <a:ln w="1682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0" name="Speech Bubble: Rectangle with Corners Rounded 49">
            <a:extLst>
              <a:ext uri="{FF2B5EF4-FFF2-40B4-BE49-F238E27FC236}">
                <a16:creationId xmlns:a16="http://schemas.microsoft.com/office/drawing/2014/main" id="{C2449925-65B4-4133-A2F8-41EED1BA33A7}"/>
              </a:ext>
            </a:extLst>
          </p:cNvPr>
          <p:cNvSpPr/>
          <p:nvPr/>
        </p:nvSpPr>
        <p:spPr>
          <a:xfrm>
            <a:off x="241593" y="1147035"/>
            <a:ext cx="1288276" cy="513453"/>
          </a:xfrm>
          <a:prstGeom prst="wedgeRoundRectCallout">
            <a:avLst>
              <a:gd name="adj1" fmla="val 66158"/>
              <a:gd name="adj2" fmla="val 79012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Maintenance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Access Zon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1" name="Speech Bubble: Rectangle with Corners Rounded 50">
            <a:extLst>
              <a:ext uri="{FF2B5EF4-FFF2-40B4-BE49-F238E27FC236}">
                <a16:creationId xmlns:a16="http://schemas.microsoft.com/office/drawing/2014/main" id="{8B7D647F-9703-4AC5-BB36-1D6BBED21031}"/>
              </a:ext>
            </a:extLst>
          </p:cNvPr>
          <p:cNvSpPr/>
          <p:nvPr/>
        </p:nvSpPr>
        <p:spPr>
          <a:xfrm>
            <a:off x="304342" y="2015022"/>
            <a:ext cx="1043019" cy="513453"/>
          </a:xfrm>
          <a:prstGeom prst="wedgeRoundRectCallout">
            <a:avLst>
              <a:gd name="adj1" fmla="val 84275"/>
              <a:gd name="adj2" fmla="val 52871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roperty Bounda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" name="Speech Bubble: Rectangle with Corners Rounded 51">
            <a:extLst>
              <a:ext uri="{FF2B5EF4-FFF2-40B4-BE49-F238E27FC236}">
                <a16:creationId xmlns:a16="http://schemas.microsoft.com/office/drawing/2014/main" id="{20C8D58C-426E-4E6B-8E37-AED716661E1F}"/>
              </a:ext>
            </a:extLst>
          </p:cNvPr>
          <p:cNvSpPr/>
          <p:nvPr/>
        </p:nvSpPr>
        <p:spPr>
          <a:xfrm>
            <a:off x="10882787" y="1371392"/>
            <a:ext cx="1043019" cy="325583"/>
          </a:xfrm>
          <a:prstGeom prst="wedgeRoundRectCallout">
            <a:avLst>
              <a:gd name="adj1" fmla="val -84628"/>
              <a:gd name="adj2" fmla="val 70843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ocum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Speech Bubble: Rectangle with Corners Rounded 52">
            <a:extLst>
              <a:ext uri="{FF2B5EF4-FFF2-40B4-BE49-F238E27FC236}">
                <a16:creationId xmlns:a16="http://schemas.microsoft.com/office/drawing/2014/main" id="{4C538A51-7D81-4BD2-BDBD-FCFB68DB73EC}"/>
              </a:ext>
            </a:extLst>
          </p:cNvPr>
          <p:cNvSpPr/>
          <p:nvPr/>
        </p:nvSpPr>
        <p:spPr>
          <a:xfrm>
            <a:off x="10794817" y="1917577"/>
            <a:ext cx="1309213" cy="325583"/>
          </a:xfrm>
          <a:prstGeom prst="wedgeRoundRectCallout">
            <a:avLst>
              <a:gd name="adj1" fmla="val -84628"/>
              <a:gd name="adj2" fmla="val 70843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Requirement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13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2" grpId="0" animBg="1"/>
      <p:bldP spid="5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ntification of Entities and Elemen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4CAFE99-CA6F-4F9B-ACA8-DF0B845BA336}"/>
              </a:ext>
            </a:extLst>
          </p:cNvPr>
          <p:cNvGrpSpPr/>
          <p:nvPr/>
        </p:nvGrpSpPr>
        <p:grpSpPr>
          <a:xfrm>
            <a:off x="7807273" y="2289097"/>
            <a:ext cx="2785890" cy="2589769"/>
            <a:chOff x="3053247" y="4030487"/>
            <a:chExt cx="2785890" cy="258976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8CCDEA8-A22F-483D-A05C-FCBF6FF636BD}"/>
                </a:ext>
              </a:extLst>
            </p:cNvPr>
            <p:cNvGrpSpPr/>
            <p:nvPr/>
          </p:nvGrpSpPr>
          <p:grpSpPr>
            <a:xfrm>
              <a:off x="3053247" y="4606226"/>
              <a:ext cx="1249060" cy="2014030"/>
              <a:chOff x="8253320" y="4014450"/>
              <a:chExt cx="1249060" cy="2014030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25CC75C-3A5F-4927-A329-5738BF2EE59A}"/>
                  </a:ext>
                </a:extLst>
              </p:cNvPr>
              <p:cNvSpPr/>
              <p:nvPr/>
            </p:nvSpPr>
            <p:spPr>
              <a:xfrm rot="16200000" flipV="1">
                <a:off x="7870835" y="4438509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860C39D-73E1-4C34-A933-8E62341FE25E}"/>
                  </a:ext>
                </a:extLst>
              </p:cNvPr>
              <p:cNvSpPr/>
              <p:nvPr/>
            </p:nvSpPr>
            <p:spPr>
              <a:xfrm rot="1800000">
                <a:off x="8253320" y="4698299"/>
                <a:ext cx="1249060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Function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0993D7-5A7B-47FA-995E-EE4418402F04}"/>
                </a:ext>
              </a:extLst>
            </p:cNvPr>
            <p:cNvGrpSpPr/>
            <p:nvPr/>
          </p:nvGrpSpPr>
          <p:grpSpPr>
            <a:xfrm>
              <a:off x="3249913" y="4030487"/>
              <a:ext cx="2014030" cy="1165911"/>
              <a:chOff x="8449986" y="3438711"/>
              <a:chExt cx="2014030" cy="1165911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5CA6CC5-F9E0-4F68-B877-A12CC12F5636}"/>
                  </a:ext>
                </a:extLst>
              </p:cNvPr>
              <p:cNvSpPr/>
              <p:nvPr/>
            </p:nvSpPr>
            <p:spPr>
              <a:xfrm rot="12600000" flipV="1">
                <a:off x="8449986" y="3438711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534D535-5633-420A-B6CD-41538DADE4C4}"/>
                  </a:ext>
                </a:extLst>
              </p:cNvPr>
              <p:cNvSpPr/>
              <p:nvPr/>
            </p:nvSpPr>
            <p:spPr>
              <a:xfrm>
                <a:off x="8935063" y="3682020"/>
                <a:ext cx="1043876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Physic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0DFF74A-CA1D-47E1-9ECF-3DFA7345B3C1}"/>
                </a:ext>
              </a:extLst>
            </p:cNvPr>
            <p:cNvGrpSpPr/>
            <p:nvPr/>
          </p:nvGrpSpPr>
          <p:grpSpPr>
            <a:xfrm>
              <a:off x="3825107" y="5033334"/>
              <a:ext cx="2014030" cy="1165911"/>
              <a:chOff x="9034416" y="4441558"/>
              <a:chExt cx="2014030" cy="1165911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B471B7C-7F0D-448D-9F59-A6847B56E3AD}"/>
                  </a:ext>
                </a:extLst>
              </p:cNvPr>
              <p:cNvSpPr/>
              <p:nvPr/>
            </p:nvSpPr>
            <p:spPr>
              <a:xfrm rot="19800000" flipV="1">
                <a:off x="9034416" y="4441558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13336EC-DFA4-4A1C-AB63-0D40E06CD302}"/>
                  </a:ext>
                </a:extLst>
              </p:cNvPr>
              <p:cNvSpPr/>
              <p:nvPr/>
            </p:nvSpPr>
            <p:spPr>
              <a:xfrm rot="19800000">
                <a:off x="9660557" y="4701348"/>
                <a:ext cx="761747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Other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FC42F3B-1130-4906-9A22-962EE7643718}"/>
              </a:ext>
            </a:extLst>
          </p:cNvPr>
          <p:cNvSpPr/>
          <p:nvPr/>
        </p:nvSpPr>
        <p:spPr>
          <a:xfrm>
            <a:off x="2938200" y="1917309"/>
            <a:ext cx="2212906" cy="108966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PhysicalElement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ElementID = 23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FedGUID = abd523f7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D2003-23-92-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DD3A02-0BDF-4F6D-8F81-0171326BFA18}"/>
              </a:ext>
            </a:extLst>
          </p:cNvPr>
          <p:cNvGrpSpPr/>
          <p:nvPr/>
        </p:nvGrpSpPr>
        <p:grpSpPr>
          <a:xfrm>
            <a:off x="7421438" y="1816762"/>
            <a:ext cx="3328289" cy="3434464"/>
            <a:chOff x="7421438" y="796949"/>
            <a:chExt cx="3328289" cy="549536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64AB51F-5C75-470F-8D47-6733CEAB8910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349241C-B4E6-4E05-8DEB-0A4362E5E77B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5811DAC-A33C-4A27-B7EE-FD372D4C7B9E}"/>
              </a:ext>
            </a:extLst>
          </p:cNvPr>
          <p:cNvCxnSpPr>
            <a:cxnSpLocks/>
          </p:cNvCxnSpPr>
          <p:nvPr/>
        </p:nvCxnSpPr>
        <p:spPr>
          <a:xfrm>
            <a:off x="5151106" y="2760895"/>
            <a:ext cx="3371118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79BD70B-F5DD-4314-826A-812AF45B710D}"/>
              </a:ext>
            </a:extLst>
          </p:cNvPr>
          <p:cNvSpPr txBox="1"/>
          <p:nvPr/>
        </p:nvSpPr>
        <p:spPr>
          <a:xfrm>
            <a:off x="5969116" y="241592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B833E5A-0598-44C0-9F14-EF32FEA0B86E}"/>
              </a:ext>
            </a:extLst>
          </p:cNvPr>
          <p:cNvSpPr/>
          <p:nvPr/>
        </p:nvSpPr>
        <p:spPr>
          <a:xfrm>
            <a:off x="2992720" y="3569265"/>
            <a:ext cx="2130561" cy="108966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FunctionalElement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ElementID = 24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FedGUID = </a:t>
            </a:r>
            <a:r>
              <a:rPr lang="en-US" sz="1400" dirty="0"/>
              <a:t>923deeab</a:t>
            </a:r>
            <a:endParaRPr lang="en-US" sz="1400" dirty="0">
              <a:solidFill>
                <a:schemeClr val="bg1"/>
              </a:solidFill>
            </a:endParaRP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BA-003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1BFFA4-C649-48B9-85BF-E48BDCD46129}"/>
              </a:ext>
            </a:extLst>
          </p:cNvPr>
          <p:cNvCxnSpPr>
            <a:cxnSpLocks/>
            <a:stCxn id="39" idx="3"/>
          </p:cNvCxnSpPr>
          <p:nvPr/>
        </p:nvCxnSpPr>
        <p:spPr>
          <a:xfrm>
            <a:off x="5123281" y="4114095"/>
            <a:ext cx="2913978" cy="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63C3F04-FC01-42D8-86B2-03D07AB3C805}"/>
              </a:ext>
            </a:extLst>
          </p:cNvPr>
          <p:cNvSpPr txBox="1"/>
          <p:nvPr/>
        </p:nvSpPr>
        <p:spPr>
          <a:xfrm>
            <a:off x="5969116" y="3716868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C782C95-3478-464F-9C6B-43448E99F8A9}"/>
              </a:ext>
            </a:extLst>
          </p:cNvPr>
          <p:cNvCxnSpPr>
            <a:cxnSpLocks/>
            <a:stCxn id="39" idx="0"/>
            <a:endCxn id="2" idx="2"/>
          </p:cNvCxnSpPr>
          <p:nvPr/>
        </p:nvCxnSpPr>
        <p:spPr>
          <a:xfrm flipH="1" flipV="1">
            <a:off x="4044653" y="3006969"/>
            <a:ext cx="13348" cy="562296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9C0CA07C-5A11-4C70-BF4D-DE551FB40688}"/>
              </a:ext>
            </a:extLst>
          </p:cNvPr>
          <p:cNvSpPr txBox="1"/>
          <p:nvPr/>
        </p:nvSpPr>
        <p:spPr>
          <a:xfrm>
            <a:off x="4021292" y="313727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FA8297A-5596-4FFE-82B4-7F80E24DA424}"/>
              </a:ext>
            </a:extLst>
          </p:cNvPr>
          <p:cNvGrpSpPr/>
          <p:nvPr/>
        </p:nvGrpSpPr>
        <p:grpSpPr>
          <a:xfrm>
            <a:off x="2345217" y="1546491"/>
            <a:ext cx="3332455" cy="3704735"/>
            <a:chOff x="196828" y="890805"/>
            <a:chExt cx="4523821" cy="549536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A25419-9613-4D6D-B201-A7601453CF05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855CBFC-D0D7-450E-B324-36DAE9C94A5B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FD5942B7-C1BD-4214-AE31-281D2F370477}"/>
              </a:ext>
            </a:extLst>
          </p:cNvPr>
          <p:cNvSpPr/>
          <p:nvPr/>
        </p:nvSpPr>
        <p:spPr>
          <a:xfrm>
            <a:off x="544595" y="2088126"/>
            <a:ext cx="1296953" cy="513453"/>
          </a:xfrm>
          <a:prstGeom prst="wedgeRoundRectCallout">
            <a:avLst>
              <a:gd name="adj1" fmla="val 164539"/>
              <a:gd name="adj2" fmla="val 8223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dentifies the Elem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A6E5754F-A5BD-47A3-AC8C-4AD8B15D6C3F}"/>
              </a:ext>
            </a:extLst>
          </p:cNvPr>
          <p:cNvSpPr/>
          <p:nvPr/>
        </p:nvSpPr>
        <p:spPr>
          <a:xfrm>
            <a:off x="9854489" y="935455"/>
            <a:ext cx="2008799" cy="455863"/>
          </a:xfrm>
          <a:prstGeom prst="wedgeRoundRectCallout">
            <a:avLst>
              <a:gd name="adj1" fmla="val -77169"/>
              <a:gd name="adj2" fmla="val 292877"/>
              <a:gd name="adj3" fmla="val 16667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IFS Identity</a:t>
            </a:r>
          </a:p>
          <a:p>
            <a:pPr algn="ctr"/>
            <a:r>
              <a:rPr lang="en-US" sz="1100" dirty="0"/>
              <a:t>FederationGUID=abd523f7</a:t>
            </a:r>
          </a:p>
        </p:txBody>
      </p:sp>
      <p:sp>
        <p:nvSpPr>
          <p:cNvPr id="36" name="Speech Bubble: Rectangle with Corners Rounded 35">
            <a:extLst>
              <a:ext uri="{FF2B5EF4-FFF2-40B4-BE49-F238E27FC236}">
                <a16:creationId xmlns:a16="http://schemas.microsoft.com/office/drawing/2014/main" id="{D2AD2E51-7F5B-4D03-9E0D-3C75D33242A9}"/>
              </a:ext>
            </a:extLst>
          </p:cNvPr>
          <p:cNvSpPr/>
          <p:nvPr/>
        </p:nvSpPr>
        <p:spPr>
          <a:xfrm>
            <a:off x="6375994" y="5686157"/>
            <a:ext cx="2008799" cy="455863"/>
          </a:xfrm>
          <a:prstGeom prst="wedgeRoundRectCallout">
            <a:avLst>
              <a:gd name="adj1" fmla="val 64798"/>
              <a:gd name="adj2" fmla="val -326757"/>
              <a:gd name="adj3" fmla="val 16667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IFS Identity</a:t>
            </a:r>
          </a:p>
          <a:p>
            <a:pPr algn="ctr"/>
            <a:r>
              <a:rPr lang="en-US" sz="1100" dirty="0"/>
              <a:t>FederationGUID=923deeab</a:t>
            </a:r>
          </a:p>
        </p:txBody>
      </p:sp>
      <p:sp>
        <p:nvSpPr>
          <p:cNvPr id="37" name="Speech Bubble: Rectangle with Corners Rounded 36">
            <a:extLst>
              <a:ext uri="{FF2B5EF4-FFF2-40B4-BE49-F238E27FC236}">
                <a16:creationId xmlns:a16="http://schemas.microsoft.com/office/drawing/2014/main" id="{12562369-91A2-4D94-A400-27E612A713B7}"/>
              </a:ext>
            </a:extLst>
          </p:cNvPr>
          <p:cNvSpPr/>
          <p:nvPr/>
        </p:nvSpPr>
        <p:spPr>
          <a:xfrm>
            <a:off x="6053491" y="1090628"/>
            <a:ext cx="2288173" cy="455863"/>
          </a:xfrm>
          <a:prstGeom prst="wedgeRoundRectCallout">
            <a:avLst>
              <a:gd name="adj1" fmla="val 60291"/>
              <a:gd name="adj2" fmla="val 275003"/>
              <a:gd name="adj3" fmla="val 16667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CS Entry</a:t>
            </a:r>
          </a:p>
          <a:p>
            <a:pPr algn="ctr"/>
            <a:r>
              <a:rPr lang="en-US" sz="1100" dirty="0"/>
              <a:t>Code (Serial #) = D2003-23-92-a</a:t>
            </a:r>
          </a:p>
        </p:txBody>
      </p:sp>
      <p:sp>
        <p:nvSpPr>
          <p:cNvPr id="38" name="Speech Bubble: Rectangle with Corners Rounded 37">
            <a:extLst>
              <a:ext uri="{FF2B5EF4-FFF2-40B4-BE49-F238E27FC236}">
                <a16:creationId xmlns:a16="http://schemas.microsoft.com/office/drawing/2014/main" id="{59BC7454-5663-46F2-83A5-5708E4F782FD}"/>
              </a:ext>
            </a:extLst>
          </p:cNvPr>
          <p:cNvSpPr/>
          <p:nvPr/>
        </p:nvSpPr>
        <p:spPr>
          <a:xfrm>
            <a:off x="8685414" y="5680431"/>
            <a:ext cx="1735125" cy="455863"/>
          </a:xfrm>
          <a:prstGeom prst="wedgeRoundRectCallout">
            <a:avLst>
              <a:gd name="adj1" fmla="val -45351"/>
              <a:gd name="adj2" fmla="val -320799"/>
              <a:gd name="adj3" fmla="val 16667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CS Entry</a:t>
            </a:r>
          </a:p>
          <a:p>
            <a:pPr algn="ctr"/>
            <a:r>
              <a:rPr lang="en-US" sz="1100" dirty="0"/>
              <a:t>Code (Tag #) = BA-003</a:t>
            </a:r>
          </a:p>
        </p:txBody>
      </p:sp>
      <p:sp>
        <p:nvSpPr>
          <p:cNvPr id="44" name="Speech Bubble: Rectangle with Corners Rounded 43">
            <a:extLst>
              <a:ext uri="{FF2B5EF4-FFF2-40B4-BE49-F238E27FC236}">
                <a16:creationId xmlns:a16="http://schemas.microsoft.com/office/drawing/2014/main" id="{48DF0AC6-7EA8-4F97-9779-F0F64BBD2931}"/>
              </a:ext>
            </a:extLst>
          </p:cNvPr>
          <p:cNvSpPr/>
          <p:nvPr/>
        </p:nvSpPr>
        <p:spPr>
          <a:xfrm>
            <a:off x="544595" y="2896487"/>
            <a:ext cx="1296953" cy="513453"/>
          </a:xfrm>
          <a:prstGeom prst="wedgeRoundRectCallout">
            <a:avLst>
              <a:gd name="adj1" fmla="val 147087"/>
              <a:gd name="adj2" fmla="val -102862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dentifies the Entit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Speech Bubble: Rectangle with Corners Rounded 44">
            <a:extLst>
              <a:ext uri="{FF2B5EF4-FFF2-40B4-BE49-F238E27FC236}">
                <a16:creationId xmlns:a16="http://schemas.microsoft.com/office/drawing/2014/main" id="{CF6AFE4E-BB45-4104-9F42-E8631E2C2B0F}"/>
              </a:ext>
            </a:extLst>
          </p:cNvPr>
          <p:cNvSpPr/>
          <p:nvPr/>
        </p:nvSpPr>
        <p:spPr>
          <a:xfrm>
            <a:off x="72428" y="2844357"/>
            <a:ext cx="2104245" cy="820381"/>
          </a:xfrm>
          <a:prstGeom prst="wedgeRoundRectCallout">
            <a:avLst>
              <a:gd name="adj1" fmla="val 92132"/>
              <a:gd name="adj2" fmla="val -51931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dentifies the real-world Entity that the Element represent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1533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ntification of Entities and Elemen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4CAFE99-CA6F-4F9B-ACA8-DF0B845BA336}"/>
              </a:ext>
            </a:extLst>
          </p:cNvPr>
          <p:cNvGrpSpPr/>
          <p:nvPr/>
        </p:nvGrpSpPr>
        <p:grpSpPr>
          <a:xfrm>
            <a:off x="7807273" y="2289097"/>
            <a:ext cx="2785890" cy="2589769"/>
            <a:chOff x="3053247" y="4030487"/>
            <a:chExt cx="2785890" cy="258976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8CCDEA8-A22F-483D-A05C-FCBF6FF636BD}"/>
                </a:ext>
              </a:extLst>
            </p:cNvPr>
            <p:cNvGrpSpPr/>
            <p:nvPr/>
          </p:nvGrpSpPr>
          <p:grpSpPr>
            <a:xfrm>
              <a:off x="3053247" y="4606226"/>
              <a:ext cx="1249060" cy="2014030"/>
              <a:chOff x="8253320" y="4014450"/>
              <a:chExt cx="1249060" cy="2014030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25CC75C-3A5F-4927-A329-5738BF2EE59A}"/>
                  </a:ext>
                </a:extLst>
              </p:cNvPr>
              <p:cNvSpPr/>
              <p:nvPr/>
            </p:nvSpPr>
            <p:spPr>
              <a:xfrm rot="16200000" flipV="1">
                <a:off x="7870835" y="4438509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860C39D-73E1-4C34-A933-8E62341FE25E}"/>
                  </a:ext>
                </a:extLst>
              </p:cNvPr>
              <p:cNvSpPr/>
              <p:nvPr/>
            </p:nvSpPr>
            <p:spPr>
              <a:xfrm rot="1800000">
                <a:off x="8253320" y="4698299"/>
                <a:ext cx="1249060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Function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0993D7-5A7B-47FA-995E-EE4418402F04}"/>
                </a:ext>
              </a:extLst>
            </p:cNvPr>
            <p:cNvGrpSpPr/>
            <p:nvPr/>
          </p:nvGrpSpPr>
          <p:grpSpPr>
            <a:xfrm>
              <a:off x="3249913" y="4030487"/>
              <a:ext cx="2014030" cy="1165911"/>
              <a:chOff x="8449986" y="3438711"/>
              <a:chExt cx="2014030" cy="1165911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5CA6CC5-F9E0-4F68-B877-A12CC12F5636}"/>
                  </a:ext>
                </a:extLst>
              </p:cNvPr>
              <p:cNvSpPr/>
              <p:nvPr/>
            </p:nvSpPr>
            <p:spPr>
              <a:xfrm rot="12600000" flipV="1">
                <a:off x="8449986" y="3438711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534D535-5633-420A-B6CD-41538DADE4C4}"/>
                  </a:ext>
                </a:extLst>
              </p:cNvPr>
              <p:cNvSpPr/>
              <p:nvPr/>
            </p:nvSpPr>
            <p:spPr>
              <a:xfrm>
                <a:off x="8935063" y="3682020"/>
                <a:ext cx="1043876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Physic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0DFF74A-CA1D-47E1-9ECF-3DFA7345B3C1}"/>
                </a:ext>
              </a:extLst>
            </p:cNvPr>
            <p:cNvGrpSpPr/>
            <p:nvPr/>
          </p:nvGrpSpPr>
          <p:grpSpPr>
            <a:xfrm>
              <a:off x="3825107" y="5033334"/>
              <a:ext cx="2014030" cy="1165911"/>
              <a:chOff x="9034416" y="4441558"/>
              <a:chExt cx="2014030" cy="1165911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B471B7C-7F0D-448D-9F59-A6847B56E3AD}"/>
                  </a:ext>
                </a:extLst>
              </p:cNvPr>
              <p:cNvSpPr/>
              <p:nvPr/>
            </p:nvSpPr>
            <p:spPr>
              <a:xfrm rot="19800000" flipV="1">
                <a:off x="9034416" y="4441558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13336EC-DFA4-4A1C-AB63-0D40E06CD302}"/>
                  </a:ext>
                </a:extLst>
              </p:cNvPr>
              <p:cNvSpPr/>
              <p:nvPr/>
            </p:nvSpPr>
            <p:spPr>
              <a:xfrm rot="19800000">
                <a:off x="9660557" y="4701348"/>
                <a:ext cx="761747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Other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FC42F3B-1130-4906-9A22-962EE7643718}"/>
              </a:ext>
            </a:extLst>
          </p:cNvPr>
          <p:cNvSpPr/>
          <p:nvPr/>
        </p:nvSpPr>
        <p:spPr>
          <a:xfrm>
            <a:off x="2938200" y="1917309"/>
            <a:ext cx="2212906" cy="108966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PhysicalElement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ElementID = 23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FedGUID = abd523f7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D2003-23-92-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DD3A02-0BDF-4F6D-8F81-0171326BFA18}"/>
              </a:ext>
            </a:extLst>
          </p:cNvPr>
          <p:cNvGrpSpPr/>
          <p:nvPr/>
        </p:nvGrpSpPr>
        <p:grpSpPr>
          <a:xfrm>
            <a:off x="7421438" y="1816762"/>
            <a:ext cx="3328289" cy="3434464"/>
            <a:chOff x="7421438" y="796949"/>
            <a:chExt cx="3328289" cy="549536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64AB51F-5C75-470F-8D47-6733CEAB8910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349241C-B4E6-4E05-8DEB-0A4362E5E77B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5811DAC-A33C-4A27-B7EE-FD372D4C7B9E}"/>
              </a:ext>
            </a:extLst>
          </p:cNvPr>
          <p:cNvCxnSpPr>
            <a:cxnSpLocks/>
          </p:cNvCxnSpPr>
          <p:nvPr/>
        </p:nvCxnSpPr>
        <p:spPr>
          <a:xfrm>
            <a:off x="5151106" y="2760895"/>
            <a:ext cx="3371118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79BD70B-F5DD-4314-826A-812AF45B710D}"/>
              </a:ext>
            </a:extLst>
          </p:cNvPr>
          <p:cNvSpPr txBox="1"/>
          <p:nvPr/>
        </p:nvSpPr>
        <p:spPr>
          <a:xfrm>
            <a:off x="5969116" y="241592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B833E5A-0598-44C0-9F14-EF32FEA0B86E}"/>
              </a:ext>
            </a:extLst>
          </p:cNvPr>
          <p:cNvSpPr/>
          <p:nvPr/>
        </p:nvSpPr>
        <p:spPr>
          <a:xfrm>
            <a:off x="2992720" y="3569265"/>
            <a:ext cx="2130561" cy="108966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FunctionalElement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ElementID = 24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FedGUID = </a:t>
            </a:r>
            <a:r>
              <a:rPr lang="en-US" sz="1400" dirty="0"/>
              <a:t>923deeab</a:t>
            </a:r>
            <a:endParaRPr lang="en-US" sz="1400" dirty="0">
              <a:solidFill>
                <a:schemeClr val="bg1"/>
              </a:solidFill>
            </a:endParaRP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BA-003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1BFFA4-C649-48B9-85BF-E48BDCD46129}"/>
              </a:ext>
            </a:extLst>
          </p:cNvPr>
          <p:cNvCxnSpPr>
            <a:cxnSpLocks/>
            <a:stCxn id="39" idx="3"/>
          </p:cNvCxnSpPr>
          <p:nvPr/>
        </p:nvCxnSpPr>
        <p:spPr>
          <a:xfrm>
            <a:off x="5123281" y="4114095"/>
            <a:ext cx="2913978" cy="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63C3F04-FC01-42D8-86B2-03D07AB3C805}"/>
              </a:ext>
            </a:extLst>
          </p:cNvPr>
          <p:cNvSpPr txBox="1"/>
          <p:nvPr/>
        </p:nvSpPr>
        <p:spPr>
          <a:xfrm>
            <a:off x="5969116" y="3716868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C782C95-3478-464F-9C6B-43448E99F8A9}"/>
              </a:ext>
            </a:extLst>
          </p:cNvPr>
          <p:cNvCxnSpPr>
            <a:cxnSpLocks/>
            <a:stCxn id="39" idx="0"/>
            <a:endCxn id="2" idx="2"/>
          </p:cNvCxnSpPr>
          <p:nvPr/>
        </p:nvCxnSpPr>
        <p:spPr>
          <a:xfrm flipH="1" flipV="1">
            <a:off x="4044653" y="3006969"/>
            <a:ext cx="13348" cy="562296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9C0CA07C-5A11-4C70-BF4D-DE551FB40688}"/>
              </a:ext>
            </a:extLst>
          </p:cNvPr>
          <p:cNvSpPr txBox="1"/>
          <p:nvPr/>
        </p:nvSpPr>
        <p:spPr>
          <a:xfrm>
            <a:off x="4021292" y="313727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FA8297A-5596-4FFE-82B4-7F80E24DA424}"/>
              </a:ext>
            </a:extLst>
          </p:cNvPr>
          <p:cNvGrpSpPr/>
          <p:nvPr/>
        </p:nvGrpSpPr>
        <p:grpSpPr>
          <a:xfrm>
            <a:off x="2345217" y="1546492"/>
            <a:ext cx="3332455" cy="3264048"/>
            <a:chOff x="196828" y="890805"/>
            <a:chExt cx="4523821" cy="549536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A25419-9613-4D6D-B201-A7601453CF05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855CBFC-D0D7-450E-B324-36DAE9C94A5B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FD5942B7-C1BD-4214-AE31-281D2F370477}"/>
              </a:ext>
            </a:extLst>
          </p:cNvPr>
          <p:cNvSpPr/>
          <p:nvPr/>
        </p:nvSpPr>
        <p:spPr>
          <a:xfrm>
            <a:off x="544595" y="2088126"/>
            <a:ext cx="1296953" cy="513453"/>
          </a:xfrm>
          <a:prstGeom prst="wedgeRoundRectCallout">
            <a:avLst>
              <a:gd name="adj1" fmla="val 164539"/>
              <a:gd name="adj2" fmla="val 8223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dentifies the Elem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A6E5754F-A5BD-47A3-AC8C-4AD8B15D6C3F}"/>
              </a:ext>
            </a:extLst>
          </p:cNvPr>
          <p:cNvSpPr/>
          <p:nvPr/>
        </p:nvSpPr>
        <p:spPr>
          <a:xfrm>
            <a:off x="9854489" y="935455"/>
            <a:ext cx="2008799" cy="455863"/>
          </a:xfrm>
          <a:prstGeom prst="wedgeRoundRectCallout">
            <a:avLst>
              <a:gd name="adj1" fmla="val -77169"/>
              <a:gd name="adj2" fmla="val 292877"/>
              <a:gd name="adj3" fmla="val 16667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IFS Identity</a:t>
            </a:r>
          </a:p>
          <a:p>
            <a:pPr algn="ctr"/>
            <a:r>
              <a:rPr lang="en-US" sz="1100" dirty="0"/>
              <a:t>FederationGUID=abd523f7</a:t>
            </a:r>
          </a:p>
        </p:txBody>
      </p:sp>
      <p:sp>
        <p:nvSpPr>
          <p:cNvPr id="36" name="Speech Bubble: Rectangle with Corners Rounded 35">
            <a:extLst>
              <a:ext uri="{FF2B5EF4-FFF2-40B4-BE49-F238E27FC236}">
                <a16:creationId xmlns:a16="http://schemas.microsoft.com/office/drawing/2014/main" id="{D2AD2E51-7F5B-4D03-9E0D-3C75D33242A9}"/>
              </a:ext>
            </a:extLst>
          </p:cNvPr>
          <p:cNvSpPr/>
          <p:nvPr/>
        </p:nvSpPr>
        <p:spPr>
          <a:xfrm>
            <a:off x="6375994" y="5686157"/>
            <a:ext cx="2008799" cy="455863"/>
          </a:xfrm>
          <a:prstGeom prst="wedgeRoundRectCallout">
            <a:avLst>
              <a:gd name="adj1" fmla="val 64798"/>
              <a:gd name="adj2" fmla="val -326757"/>
              <a:gd name="adj3" fmla="val 16667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IFS Identity</a:t>
            </a:r>
          </a:p>
          <a:p>
            <a:pPr algn="ctr"/>
            <a:r>
              <a:rPr lang="en-US" sz="1100" dirty="0"/>
              <a:t>FederationGUID=923deeab</a:t>
            </a:r>
          </a:p>
        </p:txBody>
      </p:sp>
      <p:sp>
        <p:nvSpPr>
          <p:cNvPr id="37" name="Speech Bubble: Rectangle with Corners Rounded 36">
            <a:extLst>
              <a:ext uri="{FF2B5EF4-FFF2-40B4-BE49-F238E27FC236}">
                <a16:creationId xmlns:a16="http://schemas.microsoft.com/office/drawing/2014/main" id="{12562369-91A2-4D94-A400-27E612A713B7}"/>
              </a:ext>
            </a:extLst>
          </p:cNvPr>
          <p:cNvSpPr/>
          <p:nvPr/>
        </p:nvSpPr>
        <p:spPr>
          <a:xfrm>
            <a:off x="6053491" y="1090628"/>
            <a:ext cx="2288173" cy="455863"/>
          </a:xfrm>
          <a:prstGeom prst="wedgeRoundRectCallout">
            <a:avLst>
              <a:gd name="adj1" fmla="val 60291"/>
              <a:gd name="adj2" fmla="val 275003"/>
              <a:gd name="adj3" fmla="val 16667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CS Entry</a:t>
            </a:r>
          </a:p>
          <a:p>
            <a:pPr algn="ctr"/>
            <a:r>
              <a:rPr lang="en-US" sz="1100" dirty="0"/>
              <a:t>Code (Serial #) = D2003-23-92-a</a:t>
            </a:r>
          </a:p>
        </p:txBody>
      </p:sp>
      <p:sp>
        <p:nvSpPr>
          <p:cNvPr id="38" name="Speech Bubble: Rectangle with Corners Rounded 37">
            <a:extLst>
              <a:ext uri="{FF2B5EF4-FFF2-40B4-BE49-F238E27FC236}">
                <a16:creationId xmlns:a16="http://schemas.microsoft.com/office/drawing/2014/main" id="{59BC7454-5663-46F2-83A5-5708E4F782FD}"/>
              </a:ext>
            </a:extLst>
          </p:cNvPr>
          <p:cNvSpPr/>
          <p:nvPr/>
        </p:nvSpPr>
        <p:spPr>
          <a:xfrm>
            <a:off x="8685414" y="5680431"/>
            <a:ext cx="1735125" cy="455863"/>
          </a:xfrm>
          <a:prstGeom prst="wedgeRoundRectCallout">
            <a:avLst>
              <a:gd name="adj1" fmla="val -45351"/>
              <a:gd name="adj2" fmla="val -320799"/>
              <a:gd name="adj3" fmla="val 16667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CS Entry</a:t>
            </a:r>
          </a:p>
          <a:p>
            <a:pPr algn="ctr"/>
            <a:r>
              <a:rPr lang="en-US" sz="1100" dirty="0"/>
              <a:t>Code (Tag #) = BA-003</a:t>
            </a:r>
          </a:p>
        </p:txBody>
      </p:sp>
      <p:sp>
        <p:nvSpPr>
          <p:cNvPr id="44" name="Speech Bubble: Rectangle with Corners Rounded 43">
            <a:extLst>
              <a:ext uri="{FF2B5EF4-FFF2-40B4-BE49-F238E27FC236}">
                <a16:creationId xmlns:a16="http://schemas.microsoft.com/office/drawing/2014/main" id="{48DF0AC6-7EA8-4F97-9779-F0F64BBD2931}"/>
              </a:ext>
            </a:extLst>
          </p:cNvPr>
          <p:cNvSpPr/>
          <p:nvPr/>
        </p:nvSpPr>
        <p:spPr>
          <a:xfrm>
            <a:off x="544595" y="2896487"/>
            <a:ext cx="1296953" cy="513453"/>
          </a:xfrm>
          <a:prstGeom prst="wedgeRoundRectCallout">
            <a:avLst>
              <a:gd name="adj1" fmla="val 147087"/>
              <a:gd name="adj2" fmla="val -102862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dentifies the Entit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Speech Bubble: Rectangle with Corners Rounded 44">
            <a:extLst>
              <a:ext uri="{FF2B5EF4-FFF2-40B4-BE49-F238E27FC236}">
                <a16:creationId xmlns:a16="http://schemas.microsoft.com/office/drawing/2014/main" id="{CF6AFE4E-BB45-4104-9F42-E8631E2C2B0F}"/>
              </a:ext>
            </a:extLst>
          </p:cNvPr>
          <p:cNvSpPr/>
          <p:nvPr/>
        </p:nvSpPr>
        <p:spPr>
          <a:xfrm>
            <a:off x="72428" y="2844357"/>
            <a:ext cx="2104245" cy="820381"/>
          </a:xfrm>
          <a:prstGeom prst="wedgeRoundRectCallout">
            <a:avLst>
              <a:gd name="adj1" fmla="val 92132"/>
              <a:gd name="adj2" fmla="val -51931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dentifies the real-world Entity that the Element represent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90355239-AB9F-4604-87DF-D1F88542F443}"/>
              </a:ext>
            </a:extLst>
          </p:cNvPr>
          <p:cNvSpPr/>
          <p:nvPr/>
        </p:nvSpPr>
        <p:spPr>
          <a:xfrm>
            <a:off x="2467918" y="5450030"/>
            <a:ext cx="2059290" cy="85129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Record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ID = 2999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FedGUID = abd523f7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40AD1DB-FDAD-4C20-9B92-F40CC54D7AA8}"/>
              </a:ext>
            </a:extLst>
          </p:cNvPr>
          <p:cNvGrpSpPr/>
          <p:nvPr/>
        </p:nvGrpSpPr>
        <p:grpSpPr>
          <a:xfrm>
            <a:off x="1785442" y="5091987"/>
            <a:ext cx="3332455" cy="1421958"/>
            <a:chOff x="196828" y="890805"/>
            <a:chExt cx="4523821" cy="5495363"/>
          </a:xfrm>
        </p:grpSpPr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4F5AA7CA-AF8F-4F04-BB70-8B7D5F59F611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8F057FE-B030-499D-887C-D0D25832CB9E}"/>
                </a:ext>
              </a:extLst>
            </p:cNvPr>
            <p:cNvSpPr txBox="1"/>
            <p:nvPr/>
          </p:nvSpPr>
          <p:spPr>
            <a:xfrm>
              <a:off x="947237" y="890805"/>
              <a:ext cx="3023016" cy="13083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Some Other Database</a:t>
              </a:r>
            </a:p>
          </p:txBody>
        </p:sp>
      </p:grp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B6A486C1-A31E-4F76-AEFB-E9E5FE8B6124}"/>
              </a:ext>
            </a:extLst>
          </p:cNvPr>
          <p:cNvCxnSpPr>
            <a:cxnSpLocks/>
            <a:stCxn id="49" idx="3"/>
          </p:cNvCxnSpPr>
          <p:nvPr/>
        </p:nvCxnSpPr>
        <p:spPr>
          <a:xfrm flipV="1">
            <a:off x="4527208" y="3013690"/>
            <a:ext cx="3995016" cy="2861989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57635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A1E40-AA42-4F2A-AAAA-9278D20C85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ntifiers captured in the El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61BCA4-4B77-481D-A1B1-F2C4A3614B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 err="1"/>
              <a:t>ElementId</a:t>
            </a:r>
            <a:endParaRPr lang="en-US" b="1" dirty="0"/>
          </a:p>
          <a:p>
            <a:pPr lvl="1"/>
            <a:r>
              <a:rPr lang="en-US" dirty="0"/>
              <a:t>64 Bit Integer</a:t>
            </a:r>
          </a:p>
          <a:p>
            <a:pPr lvl="1"/>
            <a:r>
              <a:rPr lang="en-US" dirty="0"/>
              <a:t>Unique per iModel</a:t>
            </a:r>
          </a:p>
          <a:p>
            <a:pPr lvl="1"/>
            <a:r>
              <a:rPr lang="en-US" dirty="0"/>
              <a:t>Identifies the </a:t>
            </a:r>
            <a:r>
              <a:rPr lang="en-US" dirty="0">
                <a:solidFill>
                  <a:srgbClr val="00B0F0"/>
                </a:solidFill>
              </a:rPr>
              <a:t>Element</a:t>
            </a:r>
            <a:r>
              <a:rPr lang="en-US" dirty="0"/>
              <a:t>.</a:t>
            </a:r>
          </a:p>
          <a:p>
            <a:r>
              <a:rPr lang="en-US" b="1" dirty="0" err="1"/>
              <a:t>FederationGuid</a:t>
            </a:r>
            <a:endParaRPr lang="en-US" b="1" dirty="0"/>
          </a:p>
          <a:p>
            <a:pPr lvl="1"/>
            <a:r>
              <a:rPr lang="en-US" dirty="0"/>
              <a:t>For identification across systems</a:t>
            </a:r>
          </a:p>
          <a:p>
            <a:pPr lvl="1"/>
            <a:r>
              <a:rPr lang="en-US" dirty="0"/>
              <a:t>Identifies the </a:t>
            </a:r>
            <a:r>
              <a:rPr lang="en-US" dirty="0">
                <a:solidFill>
                  <a:srgbClr val="00B0F0"/>
                </a:solidFill>
              </a:rPr>
              <a:t>real-world entity</a:t>
            </a:r>
          </a:p>
          <a:p>
            <a:r>
              <a:rPr lang="en-US" b="1" dirty="0"/>
              <a:t>Code</a:t>
            </a:r>
          </a:p>
          <a:p>
            <a:pPr lvl="1"/>
            <a:r>
              <a:rPr lang="en-US" dirty="0"/>
              <a:t>A human readable identifier</a:t>
            </a:r>
          </a:p>
          <a:p>
            <a:pPr lvl="1"/>
            <a:r>
              <a:rPr lang="en-US" dirty="0"/>
              <a:t>Identifies the </a:t>
            </a:r>
            <a:r>
              <a:rPr lang="en-US" dirty="0">
                <a:solidFill>
                  <a:srgbClr val="00B0F0"/>
                </a:solidFill>
              </a:rPr>
              <a:t>real-world entity</a:t>
            </a:r>
          </a:p>
          <a:p>
            <a:pPr lvl="1"/>
            <a:r>
              <a:rPr lang="en-US" dirty="0"/>
              <a:t>See next slide…</a:t>
            </a:r>
          </a:p>
        </p:txBody>
      </p:sp>
    </p:spTree>
    <p:extLst>
      <p:ext uri="{BB962C8B-B14F-4D97-AF65-F5344CB8AC3E}">
        <p14:creationId xmlns:p14="http://schemas.microsoft.com/office/powerpoint/2010/main" val="1901098764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645EAC-848B-4CF8-8A7A-B97D3CC1B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94C512-BEE7-4D23-94BB-9CDB83FB5A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920" y="1453896"/>
            <a:ext cx="11173968" cy="4823812"/>
          </a:xfrm>
        </p:spPr>
        <p:txBody>
          <a:bodyPr>
            <a:normAutofit/>
          </a:bodyPr>
          <a:lstStyle/>
          <a:p>
            <a:r>
              <a:rPr lang="en-US" dirty="0"/>
              <a:t>Every Element has a “</a:t>
            </a:r>
            <a:r>
              <a:rPr lang="en-US" b="1" dirty="0"/>
              <a:t>Code</a:t>
            </a:r>
            <a:r>
              <a:rPr lang="en-US" dirty="0"/>
              <a:t>” (nullable)</a:t>
            </a:r>
          </a:p>
          <a:p>
            <a:r>
              <a:rPr lang="en-US" dirty="0"/>
              <a:t>The Code is a human-readable identifier.</a:t>
            </a:r>
          </a:p>
          <a:p>
            <a:pPr lvl="1"/>
            <a:r>
              <a:rPr lang="en-US" dirty="0"/>
              <a:t>It identifies a </a:t>
            </a:r>
            <a:r>
              <a:rPr lang="en-US" dirty="0">
                <a:solidFill>
                  <a:srgbClr val="00B0F0"/>
                </a:solidFill>
              </a:rPr>
              <a:t>real-world entity</a:t>
            </a:r>
          </a:p>
          <a:p>
            <a:pPr lvl="1"/>
            <a:r>
              <a:rPr lang="en-US" dirty="0"/>
              <a:t>It en</a:t>
            </a:r>
            <a:r>
              <a:rPr lang="en-US" b="1" u="sng" dirty="0"/>
              <a:t>code</a:t>
            </a:r>
            <a:r>
              <a:rPr lang="en-US" dirty="0"/>
              <a:t>s some business meaning, Tag No, Room Number, Serial No</a:t>
            </a:r>
          </a:p>
          <a:p>
            <a:r>
              <a:rPr lang="en-US" dirty="0"/>
              <a:t>Elements have three properties supporting the Code:</a:t>
            </a:r>
          </a:p>
          <a:p>
            <a:pPr lvl="1"/>
            <a:r>
              <a:rPr lang="en-US" dirty="0"/>
              <a:t>A </a:t>
            </a:r>
            <a:r>
              <a:rPr lang="en-US" b="1" dirty="0" err="1"/>
              <a:t>CodeScope</a:t>
            </a:r>
            <a:r>
              <a:rPr lang="en-US" dirty="0"/>
              <a:t> pointing to an Element that defines the scope within which the Code must be unique</a:t>
            </a:r>
          </a:p>
          <a:p>
            <a:pPr lvl="1"/>
            <a:r>
              <a:rPr lang="en-US" dirty="0"/>
              <a:t>A </a:t>
            </a:r>
            <a:r>
              <a:rPr lang="en-US" b="1" dirty="0" err="1"/>
              <a:t>CodeSpec</a:t>
            </a:r>
            <a:r>
              <a:rPr lang="en-US" dirty="0"/>
              <a:t> pointing to a </a:t>
            </a:r>
            <a:r>
              <a:rPr lang="en-US" dirty="0" err="1"/>
              <a:t>CodeSpecification</a:t>
            </a:r>
            <a:r>
              <a:rPr lang="en-US" dirty="0"/>
              <a:t>, which defines how the Code is encoded and decoded, i.e. how it is formatted from business data (including managed alphanumeric sequences)</a:t>
            </a:r>
          </a:p>
          <a:p>
            <a:pPr lvl="1"/>
            <a:r>
              <a:rPr lang="en-US" dirty="0"/>
              <a:t>A </a:t>
            </a:r>
            <a:r>
              <a:rPr lang="en-US" b="1" dirty="0" err="1"/>
              <a:t>CodeValue</a:t>
            </a:r>
            <a:r>
              <a:rPr lang="en-US" dirty="0"/>
              <a:t> containing the actual human-readable string identifier</a:t>
            </a:r>
          </a:p>
        </p:txBody>
      </p:sp>
    </p:spTree>
    <p:extLst>
      <p:ext uri="{BB962C8B-B14F-4D97-AF65-F5344CB8AC3E}">
        <p14:creationId xmlns:p14="http://schemas.microsoft.com/office/powerpoint/2010/main" val="1121960900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D0AAD-0288-435B-A09C-5EB8879A1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S Modeling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949938-489F-4465-9959-55848390F0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srgbClr val="00B0F0"/>
                </a:solidFill>
              </a:rPr>
              <a:t>Elements</a:t>
            </a:r>
            <a:r>
              <a:rPr lang="en-US" dirty="0"/>
              <a:t> model </a:t>
            </a:r>
            <a:r>
              <a:rPr lang="en-US" dirty="0">
                <a:solidFill>
                  <a:srgbClr val="00B0F0"/>
                </a:solidFill>
              </a:rPr>
              <a:t>Entities</a:t>
            </a:r>
            <a:r>
              <a:rPr lang="en-US" dirty="0"/>
              <a:t> (</a:t>
            </a:r>
            <a:r>
              <a:rPr lang="en-US" dirty="0">
                <a:solidFill>
                  <a:srgbClr val="00B0F0"/>
                </a:solidFill>
              </a:rPr>
              <a:t>Perspectives</a:t>
            </a:r>
            <a:r>
              <a:rPr lang="en-US" dirty="0"/>
              <a:t> on real-world </a:t>
            </a:r>
            <a:r>
              <a:rPr lang="en-US" dirty="0">
                <a:solidFill>
                  <a:srgbClr val="00B0F0"/>
                </a:solidFill>
              </a:rPr>
              <a:t>Objects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A set of related </a:t>
            </a:r>
            <a:r>
              <a:rPr lang="en-US" dirty="0">
                <a:solidFill>
                  <a:srgbClr val="00B0F0"/>
                </a:solidFill>
              </a:rPr>
              <a:t>Elements</a:t>
            </a:r>
            <a:r>
              <a:rPr lang="en-US" dirty="0"/>
              <a:t> model the “complete” </a:t>
            </a:r>
            <a:r>
              <a:rPr lang="en-US" dirty="0">
                <a:solidFill>
                  <a:srgbClr val="00B0F0"/>
                </a:solidFill>
              </a:rPr>
              <a:t>Object</a:t>
            </a:r>
          </a:p>
          <a:p>
            <a:pPr lvl="1"/>
            <a:r>
              <a:rPr lang="en-US" dirty="0"/>
              <a:t>The “lead” </a:t>
            </a:r>
            <a:r>
              <a:rPr lang="en-US" dirty="0">
                <a:solidFill>
                  <a:srgbClr val="00B0F0"/>
                </a:solidFill>
              </a:rPr>
              <a:t>Element</a:t>
            </a:r>
            <a:r>
              <a:rPr lang="en-US" dirty="0"/>
              <a:t> depends on the nature of the </a:t>
            </a:r>
            <a:r>
              <a:rPr lang="en-US" dirty="0">
                <a:solidFill>
                  <a:srgbClr val="00B0F0"/>
                </a:solidFill>
              </a:rPr>
              <a:t>Object</a:t>
            </a:r>
          </a:p>
          <a:p>
            <a:r>
              <a:rPr lang="en-US" dirty="0"/>
              <a:t>A </a:t>
            </a:r>
            <a:r>
              <a:rPr lang="en-US" dirty="0">
                <a:solidFill>
                  <a:srgbClr val="00B0F0"/>
                </a:solidFill>
              </a:rPr>
              <a:t>Model</a:t>
            </a:r>
            <a:r>
              <a:rPr lang="en-US" dirty="0"/>
              <a:t> is a collection of </a:t>
            </a:r>
            <a:r>
              <a:rPr lang="en-US" dirty="0">
                <a:solidFill>
                  <a:srgbClr val="00B0F0"/>
                </a:solidFill>
              </a:rPr>
              <a:t>Elements</a:t>
            </a:r>
          </a:p>
          <a:p>
            <a:pPr lvl="1"/>
            <a:r>
              <a:rPr lang="en-US" dirty="0"/>
              <a:t>From a single </a:t>
            </a:r>
            <a:r>
              <a:rPr lang="en-US" dirty="0">
                <a:solidFill>
                  <a:srgbClr val="00B0F0"/>
                </a:solidFill>
              </a:rPr>
              <a:t>Perspective</a:t>
            </a:r>
          </a:p>
          <a:p>
            <a:pPr lvl="1"/>
            <a:r>
              <a:rPr lang="en-US" dirty="0"/>
              <a:t>From a single </a:t>
            </a:r>
            <a:r>
              <a:rPr lang="en-US" dirty="0">
                <a:solidFill>
                  <a:srgbClr val="00B0F0"/>
                </a:solidFill>
              </a:rPr>
              <a:t>Granularity</a:t>
            </a:r>
          </a:p>
          <a:p>
            <a:r>
              <a:rPr lang="en-US" dirty="0"/>
              <a:t>A </a:t>
            </a:r>
            <a:r>
              <a:rPr lang="en-US" dirty="0">
                <a:solidFill>
                  <a:srgbClr val="00B0F0"/>
                </a:solidFill>
              </a:rPr>
              <a:t>BIS Repository </a:t>
            </a:r>
            <a:r>
              <a:rPr lang="en-US" dirty="0"/>
              <a:t>is a cohesive set of </a:t>
            </a:r>
            <a:r>
              <a:rPr lang="en-US" dirty="0">
                <a:solidFill>
                  <a:srgbClr val="00B0F0"/>
                </a:solidFill>
              </a:rPr>
              <a:t>Models</a:t>
            </a:r>
          </a:p>
          <a:p>
            <a:pPr lvl="1"/>
            <a:r>
              <a:rPr lang="en-US" dirty="0"/>
              <a:t>A </a:t>
            </a:r>
            <a:r>
              <a:rPr lang="en-US" dirty="0">
                <a:solidFill>
                  <a:srgbClr val="00B0F0"/>
                </a:solidFill>
              </a:rPr>
              <a:t>RepositoryModel</a:t>
            </a:r>
            <a:r>
              <a:rPr lang="en-US" dirty="0"/>
              <a:t> serves as Table-of-Contents</a:t>
            </a:r>
          </a:p>
          <a:p>
            <a:pPr lvl="2"/>
            <a:r>
              <a:rPr lang="en-US" dirty="0"/>
              <a:t>The </a:t>
            </a:r>
            <a:r>
              <a:rPr lang="en-US" dirty="0">
                <a:solidFill>
                  <a:srgbClr val="00B0F0"/>
                </a:solidFill>
              </a:rPr>
              <a:t>Subject</a:t>
            </a:r>
            <a:r>
              <a:rPr lang="en-US" dirty="0"/>
              <a:t> textually describes the overall subject of the iModel</a:t>
            </a:r>
          </a:p>
          <a:p>
            <a:pPr lvl="2"/>
            <a:r>
              <a:rPr lang="en-US" dirty="0">
                <a:solidFill>
                  <a:srgbClr val="00B0F0"/>
                </a:solidFill>
              </a:rPr>
              <a:t>Partitions</a:t>
            </a:r>
            <a:r>
              <a:rPr lang="en-US" dirty="0"/>
              <a:t> establish </a:t>
            </a:r>
            <a:r>
              <a:rPr lang="en-US" dirty="0">
                <a:solidFill>
                  <a:srgbClr val="00B0F0"/>
                </a:solidFill>
              </a:rPr>
              <a:t>Perspectives</a:t>
            </a:r>
          </a:p>
          <a:p>
            <a:pPr lvl="1"/>
            <a:r>
              <a:rPr lang="en-US" dirty="0"/>
              <a:t>A </a:t>
            </a:r>
            <a:r>
              <a:rPr lang="en-US" dirty="0">
                <a:solidFill>
                  <a:srgbClr val="00B0F0"/>
                </a:solidFill>
              </a:rPr>
              <a:t>Model</a:t>
            </a:r>
            <a:r>
              <a:rPr lang="en-US" dirty="0"/>
              <a:t> sub-models an </a:t>
            </a:r>
            <a:r>
              <a:rPr lang="en-US" dirty="0">
                <a:solidFill>
                  <a:srgbClr val="00B0F0"/>
                </a:solidFill>
              </a:rPr>
              <a:t>Element</a:t>
            </a:r>
            <a:r>
              <a:rPr lang="en-US" dirty="0"/>
              <a:t>, forming a hierarchy that keeps the relative </a:t>
            </a:r>
            <a:r>
              <a:rPr lang="en-US" dirty="0">
                <a:solidFill>
                  <a:srgbClr val="00B0F0"/>
                </a:solidFill>
              </a:rPr>
              <a:t>Modeling</a:t>
            </a:r>
            <a:r>
              <a:rPr lang="en-US" dirty="0"/>
              <a:t> </a:t>
            </a:r>
            <a:r>
              <a:rPr lang="en-US" dirty="0">
                <a:solidFill>
                  <a:srgbClr val="00B0F0"/>
                </a:solidFill>
              </a:rPr>
              <a:t>Granularities</a:t>
            </a:r>
            <a:r>
              <a:rPr lang="en-US" dirty="0"/>
              <a:t> clear</a:t>
            </a:r>
          </a:p>
        </p:txBody>
      </p:sp>
    </p:spTree>
    <p:extLst>
      <p:ext uri="{BB962C8B-B14F-4D97-AF65-F5344CB8AC3E}">
        <p14:creationId xmlns:p14="http://schemas.microsoft.com/office/powerpoint/2010/main" val="966644092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1358E-99A4-44AC-96E5-FC590F89F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5248656"/>
          </a:xfrm>
        </p:spPr>
        <p:txBody>
          <a:bodyPr>
            <a:normAutofit/>
          </a:bodyPr>
          <a:lstStyle/>
          <a:p>
            <a:pPr algn="ctr"/>
            <a:r>
              <a:rPr lang="en-US" sz="16600" dirty="0"/>
              <a:t>THE END</a:t>
            </a:r>
          </a:p>
        </p:txBody>
      </p:sp>
    </p:spTree>
    <p:extLst>
      <p:ext uri="{BB962C8B-B14F-4D97-AF65-F5344CB8AC3E}">
        <p14:creationId xmlns:p14="http://schemas.microsoft.com/office/powerpoint/2010/main" val="2404952574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row: Down 9">
            <a:extLst>
              <a:ext uri="{FF2B5EF4-FFF2-40B4-BE49-F238E27FC236}">
                <a16:creationId xmlns:a16="http://schemas.microsoft.com/office/drawing/2014/main" id="{05CFF800-A37F-47F1-A7D1-AD4FF53F8ECD}"/>
              </a:ext>
            </a:extLst>
          </p:cNvPr>
          <p:cNvSpPr/>
          <p:nvPr/>
        </p:nvSpPr>
        <p:spPr>
          <a:xfrm rot="5400000">
            <a:off x="3646846" y="2967423"/>
            <a:ext cx="673903" cy="1117018"/>
          </a:xfrm>
          <a:prstGeom prst="downArrow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8492EB67-C6FE-404D-A685-F3C7EE108CC1}"/>
              </a:ext>
            </a:extLst>
          </p:cNvPr>
          <p:cNvSpPr/>
          <p:nvPr/>
        </p:nvSpPr>
        <p:spPr>
          <a:xfrm rot="16200000">
            <a:off x="7594306" y="2954023"/>
            <a:ext cx="673903" cy="1117018"/>
          </a:xfrm>
          <a:prstGeom prst="downArrow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9A6CFC98-7D4A-4E1D-8CA0-BBFAB71E387E}"/>
              </a:ext>
            </a:extLst>
          </p:cNvPr>
          <p:cNvSpPr/>
          <p:nvPr/>
        </p:nvSpPr>
        <p:spPr>
          <a:xfrm>
            <a:off x="5620576" y="4042036"/>
            <a:ext cx="673903" cy="1117018"/>
          </a:xfrm>
          <a:prstGeom prst="downArrow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7" name="Arrow: Down 16">
            <a:extLst>
              <a:ext uri="{FF2B5EF4-FFF2-40B4-BE49-F238E27FC236}">
                <a16:creationId xmlns:a16="http://schemas.microsoft.com/office/drawing/2014/main" id="{301F3767-1582-45E8-957F-2E6FCF0C34F3}"/>
              </a:ext>
            </a:extLst>
          </p:cNvPr>
          <p:cNvSpPr/>
          <p:nvPr/>
        </p:nvSpPr>
        <p:spPr>
          <a:xfrm rot="10800000">
            <a:off x="4473452" y="1816684"/>
            <a:ext cx="673903" cy="1117018"/>
          </a:xfrm>
          <a:prstGeom prst="downArrow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2D0F2562-0A0F-4B28-9CBD-01EAB2341712}"/>
              </a:ext>
            </a:extLst>
          </p:cNvPr>
          <p:cNvSpPr/>
          <p:nvPr/>
        </p:nvSpPr>
        <p:spPr>
          <a:xfrm rot="10800000">
            <a:off x="5753846" y="1833719"/>
            <a:ext cx="673903" cy="1117018"/>
          </a:xfrm>
          <a:prstGeom prst="downArrow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3789E814-ADC3-4A6E-B277-61DD8B7D3523}"/>
              </a:ext>
            </a:extLst>
          </p:cNvPr>
          <p:cNvSpPr/>
          <p:nvPr/>
        </p:nvSpPr>
        <p:spPr>
          <a:xfrm rot="10800000">
            <a:off x="6765158" y="1816684"/>
            <a:ext cx="673903" cy="1117018"/>
          </a:xfrm>
          <a:prstGeom prst="downArrow">
            <a:avLst/>
          </a:prstGeom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10F43-7086-436C-8B0B-4A451CB9AA20}"/>
              </a:ext>
            </a:extLst>
          </p:cNvPr>
          <p:cNvSpPr txBox="1"/>
          <p:nvPr/>
        </p:nvSpPr>
        <p:spPr>
          <a:xfrm rot="16200000">
            <a:off x="4217289" y="2129969"/>
            <a:ext cx="1126250" cy="307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43" fontAlgn="base">
              <a:spcBef>
                <a:spcPct val="50000"/>
              </a:spcBef>
              <a:spcAft>
                <a:spcPct val="0"/>
              </a:spcAft>
            </a:pPr>
            <a:r>
              <a:rPr lang="en-US" sz="1399">
                <a:solidFill>
                  <a:prstClr val="black"/>
                </a:solidFill>
                <a:latin typeface="Arial" pitchFamily="34" charset="0"/>
                <a:ea typeface="ＭＳ Ｐゴシック" charset="-128"/>
              </a:rPr>
              <a:t>genera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B6C2B2B-9177-4724-93A4-F2F6C6B93CA1}"/>
              </a:ext>
            </a:extLst>
          </p:cNvPr>
          <p:cNvSpPr txBox="1"/>
          <p:nvPr/>
        </p:nvSpPr>
        <p:spPr>
          <a:xfrm rot="16200000">
            <a:off x="5505228" y="2129969"/>
            <a:ext cx="1126250" cy="307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43" fontAlgn="base">
              <a:spcBef>
                <a:spcPct val="50000"/>
              </a:spcBef>
              <a:spcAft>
                <a:spcPct val="0"/>
              </a:spcAft>
            </a:pPr>
            <a:r>
              <a:rPr lang="en-US" sz="1399">
                <a:solidFill>
                  <a:prstClr val="black"/>
                </a:solidFill>
                <a:latin typeface="Arial" pitchFamily="34" charset="0"/>
                <a:ea typeface="ＭＳ Ｐゴシック" charset="-128"/>
              </a:rPr>
              <a:t>genera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D4F2F03-FC9A-4A50-97D9-8F837215C00B}"/>
              </a:ext>
            </a:extLst>
          </p:cNvPr>
          <p:cNvSpPr txBox="1"/>
          <p:nvPr/>
        </p:nvSpPr>
        <p:spPr>
          <a:xfrm rot="16200000">
            <a:off x="6538985" y="2129969"/>
            <a:ext cx="1126250" cy="307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43" fontAlgn="base">
              <a:spcBef>
                <a:spcPct val="50000"/>
              </a:spcBef>
              <a:spcAft>
                <a:spcPct val="0"/>
              </a:spcAft>
            </a:pPr>
            <a:r>
              <a:rPr lang="en-US" sz="1399">
                <a:solidFill>
                  <a:prstClr val="black"/>
                </a:solidFill>
                <a:latin typeface="Arial" pitchFamily="34" charset="0"/>
                <a:ea typeface="ＭＳ Ｐゴシック" charset="-128"/>
              </a:rPr>
              <a:t>generat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BD832DD-5907-4255-B05D-6C9D69EABE0C}"/>
              </a:ext>
            </a:extLst>
          </p:cNvPr>
          <p:cNvSpPr txBox="1"/>
          <p:nvPr/>
        </p:nvSpPr>
        <p:spPr>
          <a:xfrm>
            <a:off x="7437490" y="3331382"/>
            <a:ext cx="1126250" cy="307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43" fontAlgn="base">
              <a:spcBef>
                <a:spcPct val="50000"/>
              </a:spcBef>
              <a:spcAft>
                <a:spcPct val="0"/>
              </a:spcAft>
            </a:pPr>
            <a:r>
              <a:rPr lang="en-US" sz="1399">
                <a:solidFill>
                  <a:prstClr val="black"/>
                </a:solidFill>
                <a:latin typeface="Arial" pitchFamily="34" charset="0"/>
                <a:ea typeface="ＭＳ Ｐゴシック" charset="-128"/>
              </a:rPr>
              <a:t>generat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CF02D4E-3A1D-4265-B9D9-3FA983315EC3}"/>
              </a:ext>
            </a:extLst>
          </p:cNvPr>
          <p:cNvSpPr txBox="1"/>
          <p:nvPr/>
        </p:nvSpPr>
        <p:spPr>
          <a:xfrm rot="5400000">
            <a:off x="5403633" y="4533007"/>
            <a:ext cx="1126250" cy="307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43" fontAlgn="base">
              <a:spcBef>
                <a:spcPct val="50000"/>
              </a:spcBef>
              <a:spcAft>
                <a:spcPct val="0"/>
              </a:spcAft>
            </a:pPr>
            <a:r>
              <a:rPr lang="en-US" sz="1399">
                <a:solidFill>
                  <a:prstClr val="black"/>
                </a:solidFill>
                <a:latin typeface="Arial" pitchFamily="34" charset="0"/>
                <a:ea typeface="ＭＳ Ｐゴシック" charset="-128"/>
              </a:rPr>
              <a:t>generat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CAF7267-21C4-427F-B44E-681AE81973B4}"/>
              </a:ext>
            </a:extLst>
          </p:cNvPr>
          <p:cNvSpPr txBox="1"/>
          <p:nvPr/>
        </p:nvSpPr>
        <p:spPr>
          <a:xfrm>
            <a:off x="3654163" y="3358723"/>
            <a:ext cx="1126250" cy="307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943" fontAlgn="base">
              <a:spcBef>
                <a:spcPct val="50000"/>
              </a:spcBef>
              <a:spcAft>
                <a:spcPct val="0"/>
              </a:spcAft>
            </a:pPr>
            <a:r>
              <a:rPr lang="en-US" sz="1399">
                <a:solidFill>
                  <a:prstClr val="black"/>
                </a:solidFill>
                <a:latin typeface="Arial" pitchFamily="34" charset="0"/>
                <a:ea typeface="ＭＳ Ｐゴシック" charset="-128"/>
              </a:rPr>
              <a:t>generat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76E3E3-2D73-44FB-929A-16A5E669F520}"/>
              </a:ext>
            </a:extLst>
          </p:cNvPr>
          <p:cNvGrpSpPr/>
          <p:nvPr/>
        </p:nvGrpSpPr>
        <p:grpSpPr>
          <a:xfrm>
            <a:off x="1067583" y="3266282"/>
            <a:ext cx="2414321" cy="519300"/>
            <a:chOff x="1710415" y="1761200"/>
            <a:chExt cx="2415578" cy="519570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84E85FA3-C42A-43D6-82EF-AF51A021E11B}"/>
                </a:ext>
              </a:extLst>
            </p:cNvPr>
            <p:cNvSpPr/>
            <p:nvPr/>
          </p:nvSpPr>
          <p:spPr>
            <a:xfrm>
              <a:off x="1710415" y="1766438"/>
              <a:ext cx="2415578" cy="514332"/>
            </a:xfrm>
            <a:prstGeom prst="roundRect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13943"/>
              <a:r>
                <a:rPr lang="en-US" sz="1799">
                  <a:solidFill>
                    <a:prstClr val="black"/>
                  </a:solidFill>
                  <a:latin typeface="Calibri" panose="020F0502020204030204"/>
                </a:rPr>
                <a:t>Schema</a:t>
              </a:r>
            </a:p>
          </p:txBody>
        </p:sp>
        <p:pic>
          <p:nvPicPr>
            <p:cNvPr id="5" name="Picture 2" descr="Image result for graphql">
              <a:extLst>
                <a:ext uri="{FF2B5EF4-FFF2-40B4-BE49-F238E27FC236}">
                  <a16:creationId xmlns:a16="http://schemas.microsoft.com/office/drawing/2014/main" id="{C2209E88-BB24-4ECD-8F4F-CC88FACB2F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6175" y="1761200"/>
              <a:ext cx="1484485" cy="519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CBFAEDA-AEB2-4733-8492-50DA12D3DEBF}"/>
              </a:ext>
            </a:extLst>
          </p:cNvPr>
          <p:cNvGrpSpPr/>
          <p:nvPr/>
        </p:nvGrpSpPr>
        <p:grpSpPr>
          <a:xfrm>
            <a:off x="8459403" y="2967885"/>
            <a:ext cx="1615521" cy="897063"/>
            <a:chOff x="9279371" y="2340714"/>
            <a:chExt cx="1616362" cy="897530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21A98CBB-3F3F-4EA4-90F5-B042E8FD2D62}"/>
                </a:ext>
              </a:extLst>
            </p:cNvPr>
            <p:cNvSpPr/>
            <p:nvPr/>
          </p:nvSpPr>
          <p:spPr>
            <a:xfrm>
              <a:off x="9279371" y="2467108"/>
              <a:ext cx="1616362" cy="771136"/>
            </a:xfrm>
            <a:prstGeom prst="round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3943"/>
              <a:r>
                <a:rPr lang="en-US" sz="1799">
                  <a:solidFill>
                    <a:prstClr val="white"/>
                  </a:solidFill>
                  <a:latin typeface="Calibri" panose="020F0502020204030204"/>
                </a:rPr>
                <a:t>OData</a:t>
              </a:r>
            </a:p>
            <a:p>
              <a:pPr algn="ctr" defTabSz="913943"/>
              <a:r>
                <a:rPr lang="en-US" sz="1799">
                  <a:solidFill>
                    <a:prstClr val="white"/>
                  </a:solidFill>
                  <a:latin typeface="Calibri" panose="020F0502020204030204"/>
                </a:rPr>
                <a:t>EDMX Schema</a:t>
              </a:r>
            </a:p>
          </p:txBody>
        </p:sp>
        <p:pic>
          <p:nvPicPr>
            <p:cNvPr id="8" name="Picture 2" descr="Image result for odata">
              <a:extLst>
                <a:ext uri="{FF2B5EF4-FFF2-40B4-BE49-F238E27FC236}">
                  <a16:creationId xmlns:a16="http://schemas.microsoft.com/office/drawing/2014/main" id="{88A05072-4495-490D-BE04-CFEEC45E40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4704" y="2340714"/>
              <a:ext cx="511962" cy="511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504FFF6-80DD-4B72-BD1C-799A46B227AF}"/>
              </a:ext>
            </a:extLst>
          </p:cNvPr>
          <p:cNvSpPr/>
          <p:nvPr/>
        </p:nvSpPr>
        <p:spPr>
          <a:xfrm>
            <a:off x="4859568" y="5159054"/>
            <a:ext cx="2244846" cy="47398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</a:pPr>
            <a:r>
              <a:rPr lang="en-US" sz="1799" dirty="0">
                <a:solidFill>
                  <a:prstClr val="black"/>
                </a:solidFill>
                <a:latin typeface="Calibri" panose="020F0502020204030204"/>
              </a:rPr>
              <a:t>RDFS/OWL Ontology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225DC90-1436-43D6-9B77-5C28C0D0C613}"/>
              </a:ext>
            </a:extLst>
          </p:cNvPr>
          <p:cNvSpPr/>
          <p:nvPr/>
        </p:nvSpPr>
        <p:spPr>
          <a:xfrm>
            <a:off x="4166693" y="1095213"/>
            <a:ext cx="1261464" cy="783237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3943" fontAlgn="base">
              <a:spcAft>
                <a:spcPct val="0"/>
              </a:spcAft>
            </a:pPr>
            <a:r>
              <a:rPr lang="en-US" sz="1799">
                <a:solidFill>
                  <a:prstClr val="black"/>
                </a:solidFill>
                <a:latin typeface="Calibri" panose="020F0502020204030204"/>
              </a:rPr>
              <a:t>TypeScript </a:t>
            </a:r>
          </a:p>
          <a:p>
            <a:pPr algn="ctr" defTabSz="913943" fontAlgn="base">
              <a:spcAft>
                <a:spcPct val="0"/>
              </a:spcAft>
            </a:pPr>
            <a:r>
              <a:rPr lang="en-US" sz="1799">
                <a:solidFill>
                  <a:prstClr val="black"/>
                </a:solidFill>
                <a:latin typeface="Calibri" panose="020F0502020204030204"/>
              </a:rPr>
              <a:t>Classe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AFA982B-E54C-4AB1-B13C-7F6EE1D18E4E}"/>
              </a:ext>
            </a:extLst>
          </p:cNvPr>
          <p:cNvSpPr/>
          <p:nvPr/>
        </p:nvSpPr>
        <p:spPr>
          <a:xfrm>
            <a:off x="5574420" y="1091494"/>
            <a:ext cx="987868" cy="783237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3943" fontAlgn="base">
              <a:spcAft>
                <a:spcPct val="0"/>
              </a:spcAft>
            </a:pPr>
            <a:r>
              <a:rPr lang="en-US" sz="1799">
                <a:solidFill>
                  <a:prstClr val="black"/>
                </a:solidFill>
                <a:latin typeface="Calibri" panose="020F0502020204030204"/>
              </a:rPr>
              <a:t>XML Schema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49CF8A1-B93C-4EEA-BDF3-1D9B9FD78599}"/>
              </a:ext>
            </a:extLst>
          </p:cNvPr>
          <p:cNvSpPr/>
          <p:nvPr/>
        </p:nvSpPr>
        <p:spPr>
          <a:xfrm>
            <a:off x="6708552" y="1082229"/>
            <a:ext cx="987868" cy="783237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3943" fontAlgn="base">
              <a:spcAft>
                <a:spcPct val="0"/>
              </a:spcAft>
            </a:pPr>
            <a:r>
              <a:rPr lang="en-US" sz="1799">
                <a:solidFill>
                  <a:prstClr val="black"/>
                </a:solidFill>
                <a:latin typeface="Calibri" panose="020F0502020204030204"/>
              </a:rPr>
              <a:t>JSON</a:t>
            </a:r>
          </a:p>
          <a:p>
            <a:pPr algn="ctr" defTabSz="913943" fontAlgn="base">
              <a:spcAft>
                <a:spcPct val="0"/>
              </a:spcAft>
            </a:pPr>
            <a:r>
              <a:rPr lang="en-US" sz="1799">
                <a:solidFill>
                  <a:prstClr val="black"/>
                </a:solidFill>
                <a:latin typeface="Calibri" panose="020F0502020204030204"/>
              </a:rPr>
              <a:t>Schem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BA22BF-5EC5-40E5-901D-7018243CE73A}"/>
              </a:ext>
            </a:extLst>
          </p:cNvPr>
          <p:cNvSpPr/>
          <p:nvPr/>
        </p:nvSpPr>
        <p:spPr>
          <a:xfrm>
            <a:off x="4542306" y="2896776"/>
            <a:ext cx="2830442" cy="12315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</a:pPr>
            <a:r>
              <a:rPr lang="en-US" sz="1799" dirty="0">
                <a:solidFill>
                  <a:prstClr val="white"/>
                </a:solidFill>
                <a:latin typeface="Calibri" panose="020F0502020204030204"/>
              </a:rPr>
              <a:t>Base Infrastructure Schemas</a:t>
            </a:r>
          </a:p>
          <a:p>
            <a:pPr algn="ctr" defTabSz="913943" fontAlgn="base">
              <a:spcAft>
                <a:spcPct val="0"/>
              </a:spcAft>
            </a:pPr>
            <a:r>
              <a:rPr lang="en-US" sz="1399" dirty="0">
                <a:solidFill>
                  <a:prstClr val="white"/>
                </a:solidFill>
                <a:latin typeface="Calibri" panose="020F0502020204030204"/>
              </a:rPr>
              <a:t>(All Relevant Domains)</a:t>
            </a:r>
          </a:p>
          <a:p>
            <a:pPr algn="ctr" defTabSz="913943" fontAlgn="base">
              <a:spcAft>
                <a:spcPct val="0"/>
              </a:spcAft>
            </a:pPr>
            <a:r>
              <a:rPr lang="en-US" sz="1399" dirty="0">
                <a:solidFill>
                  <a:prstClr val="white"/>
                </a:solidFill>
                <a:latin typeface="Calibri" panose="020F0502020204030204"/>
              </a:rPr>
              <a:t>Open-Source Development with Siemens</a:t>
            </a:r>
          </a:p>
        </p:txBody>
      </p:sp>
    </p:spTree>
    <p:extLst>
      <p:ext uri="{BB962C8B-B14F-4D97-AF65-F5344CB8AC3E}">
        <p14:creationId xmlns:p14="http://schemas.microsoft.com/office/powerpoint/2010/main" val="20819142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FB17F2-074A-42B0-99A1-B14BADAF3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reeform 137">
            <a:extLst>
              <a:ext uri="{FF2B5EF4-FFF2-40B4-BE49-F238E27FC236}">
                <a16:creationId xmlns:a16="http://schemas.microsoft.com/office/drawing/2014/main" id="{F900EE19-0FD6-42FF-A315-3FD5CB6D763B}"/>
              </a:ext>
            </a:extLst>
          </p:cNvPr>
          <p:cNvSpPr>
            <a:spLocks noChangeAspect="1"/>
          </p:cNvSpPr>
          <p:nvPr/>
        </p:nvSpPr>
        <p:spPr bwMode="auto">
          <a:xfrm rot="16200000">
            <a:off x="2470717" y="1735966"/>
            <a:ext cx="638686" cy="654321"/>
          </a:xfrm>
          <a:custGeom>
            <a:avLst/>
            <a:gdLst>
              <a:gd name="connsiteX0" fmla="*/ 1031635 w 2694478"/>
              <a:gd name="connsiteY0" fmla="*/ 1992136 h 2760437"/>
              <a:gd name="connsiteX1" fmla="*/ 964292 w 2694478"/>
              <a:gd name="connsiteY1" fmla="*/ 2087418 h 2760437"/>
              <a:gd name="connsiteX2" fmla="*/ 0 w 2694478"/>
              <a:gd name="connsiteY2" fmla="*/ 2760437 h 2760437"/>
              <a:gd name="connsiteX3" fmla="*/ 7710 w 2694478"/>
              <a:gd name="connsiteY3" fmla="*/ 1380235 h 2760437"/>
              <a:gd name="connsiteX4" fmla="*/ 7710 w 2694478"/>
              <a:gd name="connsiteY4" fmla="*/ 0 h 2760437"/>
              <a:gd name="connsiteX5" fmla="*/ 1001256 w 2694478"/>
              <a:gd name="connsiteY5" fmla="*/ 686165 h 2760437"/>
              <a:gd name="connsiteX6" fmla="*/ 1004617 w 2694478"/>
              <a:gd name="connsiteY6" fmla="*/ 692859 h 2760437"/>
              <a:gd name="connsiteX7" fmla="*/ 1005006 w 2694478"/>
              <a:gd name="connsiteY7" fmla="*/ 692836 h 2760437"/>
              <a:gd name="connsiteX8" fmla="*/ 1004808 w 2694478"/>
              <a:gd name="connsiteY8" fmla="*/ 693238 h 2760437"/>
              <a:gd name="connsiteX9" fmla="*/ 1007450 w 2694478"/>
              <a:gd name="connsiteY9" fmla="*/ 698499 h 2760437"/>
              <a:gd name="connsiteX10" fmla="*/ 1002194 w 2694478"/>
              <a:gd name="connsiteY10" fmla="*/ 698537 h 2760437"/>
              <a:gd name="connsiteX11" fmla="*/ 926310 w 2694478"/>
              <a:gd name="connsiteY11" fmla="*/ 852363 h 2760437"/>
              <a:gd name="connsiteX12" fmla="*/ 967980 w 2694478"/>
              <a:gd name="connsiteY12" fmla="*/ 1921967 h 2760437"/>
              <a:gd name="connsiteX13" fmla="*/ 1023050 w 2694478"/>
              <a:gd name="connsiteY13" fmla="*/ 1990160 h 2760437"/>
              <a:gd name="connsiteX14" fmla="*/ 1026413 w 2694478"/>
              <a:gd name="connsiteY14" fmla="*/ 1992136 h 2760437"/>
              <a:gd name="connsiteX15" fmla="*/ 2694478 w 2694478"/>
              <a:gd name="connsiteY15" fmla="*/ 1386909 h 2760437"/>
              <a:gd name="connsiteX16" fmla="*/ 1870147 w 2694478"/>
              <a:gd name="connsiteY16" fmla="*/ 2211240 h 2760437"/>
              <a:gd name="connsiteX17" fmla="*/ 1045816 w 2694478"/>
              <a:gd name="connsiteY17" fmla="*/ 1386909 h 2760437"/>
              <a:gd name="connsiteX18" fmla="*/ 1870147 w 2694478"/>
              <a:gd name="connsiteY18" fmla="*/ 562578 h 2760437"/>
              <a:gd name="connsiteX19" fmla="*/ 2694478 w 2694478"/>
              <a:gd name="connsiteY19" fmla="*/ 1386909 h 2760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694478" h="2760437">
                <a:moveTo>
                  <a:pt x="1031635" y="1992136"/>
                </a:moveTo>
                <a:lnTo>
                  <a:pt x="964292" y="2087418"/>
                </a:lnTo>
                <a:cubicBezTo>
                  <a:pt x="767810" y="2343113"/>
                  <a:pt x="426629" y="2640885"/>
                  <a:pt x="0" y="2760437"/>
                </a:cubicBezTo>
                <a:lnTo>
                  <a:pt x="7710" y="1380235"/>
                </a:lnTo>
                <a:lnTo>
                  <a:pt x="7710" y="0"/>
                </a:lnTo>
                <a:cubicBezTo>
                  <a:pt x="399610" y="99508"/>
                  <a:pt x="806484" y="368970"/>
                  <a:pt x="1001256" y="686165"/>
                </a:cubicBezTo>
                <a:lnTo>
                  <a:pt x="1004617" y="692859"/>
                </a:lnTo>
                <a:lnTo>
                  <a:pt x="1005006" y="692836"/>
                </a:lnTo>
                <a:lnTo>
                  <a:pt x="1004808" y="693238"/>
                </a:lnTo>
                <a:lnTo>
                  <a:pt x="1007450" y="698499"/>
                </a:lnTo>
                <a:lnTo>
                  <a:pt x="1002194" y="698537"/>
                </a:lnTo>
                <a:lnTo>
                  <a:pt x="926310" y="852363"/>
                </a:lnTo>
                <a:cubicBezTo>
                  <a:pt x="773772" y="1207096"/>
                  <a:pt x="744661" y="1613277"/>
                  <a:pt x="967980" y="1921967"/>
                </a:cubicBezTo>
                <a:lnTo>
                  <a:pt x="1023050" y="1990160"/>
                </a:lnTo>
                <a:lnTo>
                  <a:pt x="1026413" y="1992136"/>
                </a:lnTo>
                <a:close/>
                <a:moveTo>
                  <a:pt x="2694478" y="1386909"/>
                </a:moveTo>
                <a:cubicBezTo>
                  <a:pt x="2694478" y="1842175"/>
                  <a:pt x="2325413" y="2211240"/>
                  <a:pt x="1870147" y="2211240"/>
                </a:cubicBezTo>
                <a:cubicBezTo>
                  <a:pt x="1414881" y="2211240"/>
                  <a:pt x="1045816" y="1842175"/>
                  <a:pt x="1045816" y="1386909"/>
                </a:cubicBezTo>
                <a:cubicBezTo>
                  <a:pt x="1045816" y="931644"/>
                  <a:pt x="1414881" y="562578"/>
                  <a:pt x="1870147" y="562578"/>
                </a:cubicBezTo>
                <a:cubicBezTo>
                  <a:pt x="2325413" y="562578"/>
                  <a:pt x="2694478" y="931644"/>
                  <a:pt x="2694478" y="1386909"/>
                </a:cubicBezTo>
                <a:close/>
              </a:path>
            </a:pathLst>
          </a:custGeom>
          <a:solidFill>
            <a:srgbClr val="038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  <a:ea typeface="MS PGothic"/>
              <a:cs typeface="MS PGothic"/>
            </a:endParaRPr>
          </a:p>
        </p:txBody>
      </p:sp>
      <p:sp>
        <p:nvSpPr>
          <p:cNvPr id="5" name="Freeform 137">
            <a:extLst>
              <a:ext uri="{FF2B5EF4-FFF2-40B4-BE49-F238E27FC236}">
                <a16:creationId xmlns:a16="http://schemas.microsoft.com/office/drawing/2014/main" id="{3AB88473-7056-4280-A56C-109A67833AF9}"/>
              </a:ext>
            </a:extLst>
          </p:cNvPr>
          <p:cNvSpPr>
            <a:spLocks noChangeAspect="1"/>
          </p:cNvSpPr>
          <p:nvPr/>
        </p:nvSpPr>
        <p:spPr bwMode="auto">
          <a:xfrm rot="16200000">
            <a:off x="4620790" y="1735966"/>
            <a:ext cx="638686" cy="654321"/>
          </a:xfrm>
          <a:custGeom>
            <a:avLst/>
            <a:gdLst>
              <a:gd name="connsiteX0" fmla="*/ 1031635 w 2694478"/>
              <a:gd name="connsiteY0" fmla="*/ 1992136 h 2760437"/>
              <a:gd name="connsiteX1" fmla="*/ 964292 w 2694478"/>
              <a:gd name="connsiteY1" fmla="*/ 2087418 h 2760437"/>
              <a:gd name="connsiteX2" fmla="*/ 0 w 2694478"/>
              <a:gd name="connsiteY2" fmla="*/ 2760437 h 2760437"/>
              <a:gd name="connsiteX3" fmla="*/ 7710 w 2694478"/>
              <a:gd name="connsiteY3" fmla="*/ 1380235 h 2760437"/>
              <a:gd name="connsiteX4" fmla="*/ 7710 w 2694478"/>
              <a:gd name="connsiteY4" fmla="*/ 0 h 2760437"/>
              <a:gd name="connsiteX5" fmla="*/ 1001256 w 2694478"/>
              <a:gd name="connsiteY5" fmla="*/ 686165 h 2760437"/>
              <a:gd name="connsiteX6" fmla="*/ 1004617 w 2694478"/>
              <a:gd name="connsiteY6" fmla="*/ 692859 h 2760437"/>
              <a:gd name="connsiteX7" fmla="*/ 1005006 w 2694478"/>
              <a:gd name="connsiteY7" fmla="*/ 692836 h 2760437"/>
              <a:gd name="connsiteX8" fmla="*/ 1004808 w 2694478"/>
              <a:gd name="connsiteY8" fmla="*/ 693238 h 2760437"/>
              <a:gd name="connsiteX9" fmla="*/ 1007450 w 2694478"/>
              <a:gd name="connsiteY9" fmla="*/ 698499 h 2760437"/>
              <a:gd name="connsiteX10" fmla="*/ 1002194 w 2694478"/>
              <a:gd name="connsiteY10" fmla="*/ 698537 h 2760437"/>
              <a:gd name="connsiteX11" fmla="*/ 926310 w 2694478"/>
              <a:gd name="connsiteY11" fmla="*/ 852363 h 2760437"/>
              <a:gd name="connsiteX12" fmla="*/ 967980 w 2694478"/>
              <a:gd name="connsiteY12" fmla="*/ 1921967 h 2760437"/>
              <a:gd name="connsiteX13" fmla="*/ 1023050 w 2694478"/>
              <a:gd name="connsiteY13" fmla="*/ 1990160 h 2760437"/>
              <a:gd name="connsiteX14" fmla="*/ 1026413 w 2694478"/>
              <a:gd name="connsiteY14" fmla="*/ 1992136 h 2760437"/>
              <a:gd name="connsiteX15" fmla="*/ 2694478 w 2694478"/>
              <a:gd name="connsiteY15" fmla="*/ 1386909 h 2760437"/>
              <a:gd name="connsiteX16" fmla="*/ 1870147 w 2694478"/>
              <a:gd name="connsiteY16" fmla="*/ 2211240 h 2760437"/>
              <a:gd name="connsiteX17" fmla="*/ 1045816 w 2694478"/>
              <a:gd name="connsiteY17" fmla="*/ 1386909 h 2760437"/>
              <a:gd name="connsiteX18" fmla="*/ 1870147 w 2694478"/>
              <a:gd name="connsiteY18" fmla="*/ 562578 h 2760437"/>
              <a:gd name="connsiteX19" fmla="*/ 2694478 w 2694478"/>
              <a:gd name="connsiteY19" fmla="*/ 1386909 h 2760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694478" h="2760437">
                <a:moveTo>
                  <a:pt x="1031635" y="1992136"/>
                </a:moveTo>
                <a:lnTo>
                  <a:pt x="964292" y="2087418"/>
                </a:lnTo>
                <a:cubicBezTo>
                  <a:pt x="767810" y="2343113"/>
                  <a:pt x="426629" y="2640885"/>
                  <a:pt x="0" y="2760437"/>
                </a:cubicBezTo>
                <a:lnTo>
                  <a:pt x="7710" y="1380235"/>
                </a:lnTo>
                <a:lnTo>
                  <a:pt x="7710" y="0"/>
                </a:lnTo>
                <a:cubicBezTo>
                  <a:pt x="399610" y="99508"/>
                  <a:pt x="806484" y="368970"/>
                  <a:pt x="1001256" y="686165"/>
                </a:cubicBezTo>
                <a:lnTo>
                  <a:pt x="1004617" y="692859"/>
                </a:lnTo>
                <a:lnTo>
                  <a:pt x="1005006" y="692836"/>
                </a:lnTo>
                <a:lnTo>
                  <a:pt x="1004808" y="693238"/>
                </a:lnTo>
                <a:lnTo>
                  <a:pt x="1007450" y="698499"/>
                </a:lnTo>
                <a:lnTo>
                  <a:pt x="1002194" y="698537"/>
                </a:lnTo>
                <a:lnTo>
                  <a:pt x="926310" y="852363"/>
                </a:lnTo>
                <a:cubicBezTo>
                  <a:pt x="773772" y="1207096"/>
                  <a:pt x="744661" y="1613277"/>
                  <a:pt x="967980" y="1921967"/>
                </a:cubicBezTo>
                <a:lnTo>
                  <a:pt x="1023050" y="1990160"/>
                </a:lnTo>
                <a:lnTo>
                  <a:pt x="1026413" y="1992136"/>
                </a:lnTo>
                <a:close/>
                <a:moveTo>
                  <a:pt x="2694478" y="1386909"/>
                </a:moveTo>
                <a:cubicBezTo>
                  <a:pt x="2694478" y="1842175"/>
                  <a:pt x="2325413" y="2211240"/>
                  <a:pt x="1870147" y="2211240"/>
                </a:cubicBezTo>
                <a:cubicBezTo>
                  <a:pt x="1414881" y="2211240"/>
                  <a:pt x="1045816" y="1842175"/>
                  <a:pt x="1045816" y="1386909"/>
                </a:cubicBezTo>
                <a:cubicBezTo>
                  <a:pt x="1045816" y="931644"/>
                  <a:pt x="1414881" y="562578"/>
                  <a:pt x="1870147" y="562578"/>
                </a:cubicBezTo>
                <a:cubicBezTo>
                  <a:pt x="2325413" y="562578"/>
                  <a:pt x="2694478" y="931644"/>
                  <a:pt x="2694478" y="1386909"/>
                </a:cubicBezTo>
                <a:close/>
              </a:path>
            </a:pathLst>
          </a:custGeom>
          <a:solidFill>
            <a:srgbClr val="038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  <a:ea typeface="MS PGothic"/>
              <a:cs typeface="MS PGothic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1E2383-E385-4E63-8618-968E5300D013}"/>
              </a:ext>
            </a:extLst>
          </p:cNvPr>
          <p:cNvSpPr txBox="1"/>
          <p:nvPr/>
        </p:nvSpPr>
        <p:spPr>
          <a:xfrm>
            <a:off x="1754617" y="1405229"/>
            <a:ext cx="2070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sponsible Party 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70F4B4-D666-4F4F-A623-7DDB7A5AE482}"/>
              </a:ext>
            </a:extLst>
          </p:cNvPr>
          <p:cNvSpPr txBox="1"/>
          <p:nvPr/>
        </p:nvSpPr>
        <p:spPr>
          <a:xfrm>
            <a:off x="3904690" y="1405229"/>
            <a:ext cx="2070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sponsible Party B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4BC6179-E321-4FAB-91C8-3F96DAE19529}"/>
              </a:ext>
            </a:extLst>
          </p:cNvPr>
          <p:cNvSpPr/>
          <p:nvPr/>
        </p:nvSpPr>
        <p:spPr>
          <a:xfrm>
            <a:off x="2462899" y="3219298"/>
            <a:ext cx="1251332" cy="767815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odel 1</a:t>
            </a:r>
          </a:p>
        </p:txBody>
      </p:sp>
      <p:sp>
        <p:nvSpPr>
          <p:cNvPr id="10" name="Freeform 137">
            <a:extLst>
              <a:ext uri="{FF2B5EF4-FFF2-40B4-BE49-F238E27FC236}">
                <a16:creationId xmlns:a16="http://schemas.microsoft.com/office/drawing/2014/main" id="{051F1C7C-9CC1-40AB-B2DA-498885F1593F}"/>
              </a:ext>
            </a:extLst>
          </p:cNvPr>
          <p:cNvSpPr>
            <a:spLocks noChangeAspect="1"/>
          </p:cNvSpPr>
          <p:nvPr/>
        </p:nvSpPr>
        <p:spPr bwMode="auto">
          <a:xfrm rot="16200000">
            <a:off x="6798597" y="1735966"/>
            <a:ext cx="638686" cy="654321"/>
          </a:xfrm>
          <a:custGeom>
            <a:avLst/>
            <a:gdLst>
              <a:gd name="connsiteX0" fmla="*/ 1031635 w 2694478"/>
              <a:gd name="connsiteY0" fmla="*/ 1992136 h 2760437"/>
              <a:gd name="connsiteX1" fmla="*/ 964292 w 2694478"/>
              <a:gd name="connsiteY1" fmla="*/ 2087418 h 2760437"/>
              <a:gd name="connsiteX2" fmla="*/ 0 w 2694478"/>
              <a:gd name="connsiteY2" fmla="*/ 2760437 h 2760437"/>
              <a:gd name="connsiteX3" fmla="*/ 7710 w 2694478"/>
              <a:gd name="connsiteY3" fmla="*/ 1380235 h 2760437"/>
              <a:gd name="connsiteX4" fmla="*/ 7710 w 2694478"/>
              <a:gd name="connsiteY4" fmla="*/ 0 h 2760437"/>
              <a:gd name="connsiteX5" fmla="*/ 1001256 w 2694478"/>
              <a:gd name="connsiteY5" fmla="*/ 686165 h 2760437"/>
              <a:gd name="connsiteX6" fmla="*/ 1004617 w 2694478"/>
              <a:gd name="connsiteY6" fmla="*/ 692859 h 2760437"/>
              <a:gd name="connsiteX7" fmla="*/ 1005006 w 2694478"/>
              <a:gd name="connsiteY7" fmla="*/ 692836 h 2760437"/>
              <a:gd name="connsiteX8" fmla="*/ 1004808 w 2694478"/>
              <a:gd name="connsiteY8" fmla="*/ 693238 h 2760437"/>
              <a:gd name="connsiteX9" fmla="*/ 1007450 w 2694478"/>
              <a:gd name="connsiteY9" fmla="*/ 698499 h 2760437"/>
              <a:gd name="connsiteX10" fmla="*/ 1002194 w 2694478"/>
              <a:gd name="connsiteY10" fmla="*/ 698537 h 2760437"/>
              <a:gd name="connsiteX11" fmla="*/ 926310 w 2694478"/>
              <a:gd name="connsiteY11" fmla="*/ 852363 h 2760437"/>
              <a:gd name="connsiteX12" fmla="*/ 967980 w 2694478"/>
              <a:gd name="connsiteY12" fmla="*/ 1921967 h 2760437"/>
              <a:gd name="connsiteX13" fmla="*/ 1023050 w 2694478"/>
              <a:gd name="connsiteY13" fmla="*/ 1990160 h 2760437"/>
              <a:gd name="connsiteX14" fmla="*/ 1026413 w 2694478"/>
              <a:gd name="connsiteY14" fmla="*/ 1992136 h 2760437"/>
              <a:gd name="connsiteX15" fmla="*/ 2694478 w 2694478"/>
              <a:gd name="connsiteY15" fmla="*/ 1386909 h 2760437"/>
              <a:gd name="connsiteX16" fmla="*/ 1870147 w 2694478"/>
              <a:gd name="connsiteY16" fmla="*/ 2211240 h 2760437"/>
              <a:gd name="connsiteX17" fmla="*/ 1045816 w 2694478"/>
              <a:gd name="connsiteY17" fmla="*/ 1386909 h 2760437"/>
              <a:gd name="connsiteX18" fmla="*/ 1870147 w 2694478"/>
              <a:gd name="connsiteY18" fmla="*/ 562578 h 2760437"/>
              <a:gd name="connsiteX19" fmla="*/ 2694478 w 2694478"/>
              <a:gd name="connsiteY19" fmla="*/ 1386909 h 2760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694478" h="2760437">
                <a:moveTo>
                  <a:pt x="1031635" y="1992136"/>
                </a:moveTo>
                <a:lnTo>
                  <a:pt x="964292" y="2087418"/>
                </a:lnTo>
                <a:cubicBezTo>
                  <a:pt x="767810" y="2343113"/>
                  <a:pt x="426629" y="2640885"/>
                  <a:pt x="0" y="2760437"/>
                </a:cubicBezTo>
                <a:lnTo>
                  <a:pt x="7710" y="1380235"/>
                </a:lnTo>
                <a:lnTo>
                  <a:pt x="7710" y="0"/>
                </a:lnTo>
                <a:cubicBezTo>
                  <a:pt x="399610" y="99508"/>
                  <a:pt x="806484" y="368970"/>
                  <a:pt x="1001256" y="686165"/>
                </a:cubicBezTo>
                <a:lnTo>
                  <a:pt x="1004617" y="692859"/>
                </a:lnTo>
                <a:lnTo>
                  <a:pt x="1005006" y="692836"/>
                </a:lnTo>
                <a:lnTo>
                  <a:pt x="1004808" y="693238"/>
                </a:lnTo>
                <a:lnTo>
                  <a:pt x="1007450" y="698499"/>
                </a:lnTo>
                <a:lnTo>
                  <a:pt x="1002194" y="698537"/>
                </a:lnTo>
                <a:lnTo>
                  <a:pt x="926310" y="852363"/>
                </a:lnTo>
                <a:cubicBezTo>
                  <a:pt x="773772" y="1207096"/>
                  <a:pt x="744661" y="1613277"/>
                  <a:pt x="967980" y="1921967"/>
                </a:cubicBezTo>
                <a:lnTo>
                  <a:pt x="1023050" y="1990160"/>
                </a:lnTo>
                <a:lnTo>
                  <a:pt x="1026413" y="1992136"/>
                </a:lnTo>
                <a:close/>
                <a:moveTo>
                  <a:pt x="2694478" y="1386909"/>
                </a:moveTo>
                <a:cubicBezTo>
                  <a:pt x="2694478" y="1842175"/>
                  <a:pt x="2325413" y="2211240"/>
                  <a:pt x="1870147" y="2211240"/>
                </a:cubicBezTo>
                <a:cubicBezTo>
                  <a:pt x="1414881" y="2211240"/>
                  <a:pt x="1045816" y="1842175"/>
                  <a:pt x="1045816" y="1386909"/>
                </a:cubicBezTo>
                <a:cubicBezTo>
                  <a:pt x="1045816" y="931644"/>
                  <a:pt x="1414881" y="562578"/>
                  <a:pt x="1870147" y="562578"/>
                </a:cubicBezTo>
                <a:cubicBezTo>
                  <a:pt x="2325413" y="562578"/>
                  <a:pt x="2694478" y="931644"/>
                  <a:pt x="2694478" y="1386909"/>
                </a:cubicBezTo>
                <a:close/>
              </a:path>
            </a:pathLst>
          </a:custGeom>
          <a:solidFill>
            <a:srgbClr val="038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  <a:ea typeface="MS PGothic"/>
              <a:cs typeface="MS PGothic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596C65-85D1-4971-BC4B-B515FA0F2AE1}"/>
              </a:ext>
            </a:extLst>
          </p:cNvPr>
          <p:cNvSpPr txBox="1"/>
          <p:nvPr/>
        </p:nvSpPr>
        <p:spPr>
          <a:xfrm>
            <a:off x="6082497" y="1405229"/>
            <a:ext cx="2070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sponsible Party C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E44DE41-6E0C-4453-8152-A799A35D7446}"/>
              </a:ext>
            </a:extLst>
          </p:cNvPr>
          <p:cNvSpPr/>
          <p:nvPr/>
        </p:nvSpPr>
        <p:spPr>
          <a:xfrm>
            <a:off x="4278294" y="3211060"/>
            <a:ext cx="1251332" cy="767815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odel 2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4B93A5A-2F9C-4F07-8BB9-0FDE81C378D6}"/>
              </a:ext>
            </a:extLst>
          </p:cNvPr>
          <p:cNvSpPr/>
          <p:nvPr/>
        </p:nvSpPr>
        <p:spPr>
          <a:xfrm>
            <a:off x="6193769" y="3202822"/>
            <a:ext cx="1251332" cy="767815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odel 3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312D86D3-896D-44AC-B36D-F25C382A9966}"/>
              </a:ext>
            </a:extLst>
          </p:cNvPr>
          <p:cNvCxnSpPr>
            <a:stCxn id="9" idx="0"/>
            <a:endCxn id="4" idx="3"/>
          </p:cNvCxnSpPr>
          <p:nvPr/>
        </p:nvCxnSpPr>
        <p:spPr>
          <a:xfrm flipH="1" flipV="1">
            <a:off x="2790064" y="2380642"/>
            <a:ext cx="298501" cy="838656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341B3A2-7F3B-4D82-8199-3CFFCBD82BFA}"/>
              </a:ext>
            </a:extLst>
          </p:cNvPr>
          <p:cNvCxnSpPr>
            <a:cxnSpLocks/>
            <a:stCxn id="13" idx="0"/>
            <a:endCxn id="4" idx="3"/>
          </p:cNvCxnSpPr>
          <p:nvPr/>
        </p:nvCxnSpPr>
        <p:spPr>
          <a:xfrm flipH="1" flipV="1">
            <a:off x="2790064" y="2380642"/>
            <a:ext cx="2113896" cy="830418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E605EF9E-F7F2-465F-B52C-0225D95B54C0}"/>
              </a:ext>
            </a:extLst>
          </p:cNvPr>
          <p:cNvCxnSpPr>
            <a:cxnSpLocks/>
            <a:stCxn id="14" idx="0"/>
            <a:endCxn id="5" idx="3"/>
          </p:cNvCxnSpPr>
          <p:nvPr/>
        </p:nvCxnSpPr>
        <p:spPr>
          <a:xfrm flipH="1" flipV="1">
            <a:off x="4940137" y="2380642"/>
            <a:ext cx="1879298" cy="82218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FD6AB74-8B03-466D-B0EF-D243004161FF}"/>
              </a:ext>
            </a:extLst>
          </p:cNvPr>
          <p:cNvCxnSpPr>
            <a:cxnSpLocks/>
            <a:stCxn id="14" idx="0"/>
            <a:endCxn id="10" idx="3"/>
          </p:cNvCxnSpPr>
          <p:nvPr/>
        </p:nvCxnSpPr>
        <p:spPr>
          <a:xfrm flipV="1">
            <a:off x="6819435" y="2380642"/>
            <a:ext cx="298509" cy="82218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9" name="&quot;Not Allowed&quot; Symbol 38">
            <a:extLst>
              <a:ext uri="{FF2B5EF4-FFF2-40B4-BE49-F238E27FC236}">
                <a16:creationId xmlns:a16="http://schemas.microsoft.com/office/drawing/2014/main" id="{5475F596-40E6-4E78-8E0E-0CEB2FCACB77}"/>
              </a:ext>
            </a:extLst>
          </p:cNvPr>
          <p:cNvSpPr/>
          <p:nvPr/>
        </p:nvSpPr>
        <p:spPr>
          <a:xfrm>
            <a:off x="6382989" y="2607935"/>
            <a:ext cx="672731" cy="672731"/>
          </a:xfrm>
          <a:prstGeom prst="noSmoking">
            <a:avLst>
              <a:gd name="adj" fmla="val 12627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192821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ntification of Entities and Elemen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4CAFE99-CA6F-4F9B-ACA8-DF0B845BA336}"/>
              </a:ext>
            </a:extLst>
          </p:cNvPr>
          <p:cNvGrpSpPr/>
          <p:nvPr/>
        </p:nvGrpSpPr>
        <p:grpSpPr>
          <a:xfrm>
            <a:off x="7807273" y="2289097"/>
            <a:ext cx="2785890" cy="2589769"/>
            <a:chOff x="3053247" y="4030487"/>
            <a:chExt cx="2785890" cy="258976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8CCDEA8-A22F-483D-A05C-FCBF6FF636BD}"/>
                </a:ext>
              </a:extLst>
            </p:cNvPr>
            <p:cNvGrpSpPr/>
            <p:nvPr/>
          </p:nvGrpSpPr>
          <p:grpSpPr>
            <a:xfrm>
              <a:off x="3053247" y="4606226"/>
              <a:ext cx="1249060" cy="2014030"/>
              <a:chOff x="8253320" y="4014450"/>
              <a:chExt cx="1249060" cy="2014030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25CC75C-3A5F-4927-A329-5738BF2EE59A}"/>
                  </a:ext>
                </a:extLst>
              </p:cNvPr>
              <p:cNvSpPr/>
              <p:nvPr/>
            </p:nvSpPr>
            <p:spPr>
              <a:xfrm rot="16200000" flipV="1">
                <a:off x="7870835" y="4438509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860C39D-73E1-4C34-A933-8E62341FE25E}"/>
                  </a:ext>
                </a:extLst>
              </p:cNvPr>
              <p:cNvSpPr/>
              <p:nvPr/>
            </p:nvSpPr>
            <p:spPr>
              <a:xfrm rot="1800000">
                <a:off x="8253320" y="4698299"/>
                <a:ext cx="1249060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Function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0993D7-5A7B-47FA-995E-EE4418402F04}"/>
                </a:ext>
              </a:extLst>
            </p:cNvPr>
            <p:cNvGrpSpPr/>
            <p:nvPr/>
          </p:nvGrpSpPr>
          <p:grpSpPr>
            <a:xfrm>
              <a:off x="3249913" y="4030487"/>
              <a:ext cx="2014030" cy="1165911"/>
              <a:chOff x="8449986" y="3438711"/>
              <a:chExt cx="2014030" cy="1165911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5CA6CC5-F9E0-4F68-B877-A12CC12F5636}"/>
                  </a:ext>
                </a:extLst>
              </p:cNvPr>
              <p:cNvSpPr/>
              <p:nvPr/>
            </p:nvSpPr>
            <p:spPr>
              <a:xfrm rot="12600000" flipV="1">
                <a:off x="8449986" y="3438711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534D535-5633-420A-B6CD-41538DADE4C4}"/>
                  </a:ext>
                </a:extLst>
              </p:cNvPr>
              <p:cNvSpPr/>
              <p:nvPr/>
            </p:nvSpPr>
            <p:spPr>
              <a:xfrm>
                <a:off x="8935063" y="3682020"/>
                <a:ext cx="1043876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Physic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0DFF74A-CA1D-47E1-9ECF-3DFA7345B3C1}"/>
                </a:ext>
              </a:extLst>
            </p:cNvPr>
            <p:cNvGrpSpPr/>
            <p:nvPr/>
          </p:nvGrpSpPr>
          <p:grpSpPr>
            <a:xfrm>
              <a:off x="3825107" y="5033334"/>
              <a:ext cx="2014030" cy="1165911"/>
              <a:chOff x="9034416" y="4441558"/>
              <a:chExt cx="2014030" cy="1165911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B471B7C-7F0D-448D-9F59-A6847B56E3AD}"/>
                  </a:ext>
                </a:extLst>
              </p:cNvPr>
              <p:cNvSpPr/>
              <p:nvPr/>
            </p:nvSpPr>
            <p:spPr>
              <a:xfrm rot="19800000" flipV="1">
                <a:off x="9034416" y="4441558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13336EC-DFA4-4A1C-AB63-0D40E06CD302}"/>
                  </a:ext>
                </a:extLst>
              </p:cNvPr>
              <p:cNvSpPr/>
              <p:nvPr/>
            </p:nvSpPr>
            <p:spPr>
              <a:xfrm rot="19800000">
                <a:off x="9660557" y="4701348"/>
                <a:ext cx="761747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Other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FC42F3B-1130-4906-9A22-962EE7643718}"/>
              </a:ext>
            </a:extLst>
          </p:cNvPr>
          <p:cNvSpPr/>
          <p:nvPr/>
        </p:nvSpPr>
        <p:spPr>
          <a:xfrm>
            <a:off x="2938200" y="1917309"/>
            <a:ext cx="2212906" cy="108966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PhysicalElement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ElementID = 23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FedGUID = abd523f7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D2003-23-92-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DD3A02-0BDF-4F6D-8F81-0171326BFA18}"/>
              </a:ext>
            </a:extLst>
          </p:cNvPr>
          <p:cNvGrpSpPr/>
          <p:nvPr/>
        </p:nvGrpSpPr>
        <p:grpSpPr>
          <a:xfrm>
            <a:off x="7421438" y="1816762"/>
            <a:ext cx="3328289" cy="3434464"/>
            <a:chOff x="7421438" y="796949"/>
            <a:chExt cx="3328289" cy="549536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64AB51F-5C75-470F-8D47-6733CEAB8910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349241C-B4E6-4E05-8DEB-0A4362E5E77B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5811DAC-A33C-4A27-B7EE-FD372D4C7B9E}"/>
              </a:ext>
            </a:extLst>
          </p:cNvPr>
          <p:cNvCxnSpPr>
            <a:cxnSpLocks/>
          </p:cNvCxnSpPr>
          <p:nvPr/>
        </p:nvCxnSpPr>
        <p:spPr>
          <a:xfrm>
            <a:off x="5151106" y="2760895"/>
            <a:ext cx="3371118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79BD70B-F5DD-4314-826A-812AF45B710D}"/>
              </a:ext>
            </a:extLst>
          </p:cNvPr>
          <p:cNvSpPr txBox="1"/>
          <p:nvPr/>
        </p:nvSpPr>
        <p:spPr>
          <a:xfrm>
            <a:off x="5969116" y="241592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B833E5A-0598-44C0-9F14-EF32FEA0B86E}"/>
              </a:ext>
            </a:extLst>
          </p:cNvPr>
          <p:cNvSpPr/>
          <p:nvPr/>
        </p:nvSpPr>
        <p:spPr>
          <a:xfrm>
            <a:off x="3018769" y="3569265"/>
            <a:ext cx="2078464" cy="108966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FunctionalElement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ElementID = 23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FedGUID = abd523f7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BA-003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1BFFA4-C649-48B9-85BF-E48BDCD46129}"/>
              </a:ext>
            </a:extLst>
          </p:cNvPr>
          <p:cNvCxnSpPr>
            <a:cxnSpLocks/>
            <a:stCxn id="39" idx="3"/>
          </p:cNvCxnSpPr>
          <p:nvPr/>
        </p:nvCxnSpPr>
        <p:spPr>
          <a:xfrm>
            <a:off x="5097233" y="4114095"/>
            <a:ext cx="2940026" cy="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63C3F04-FC01-42D8-86B2-03D07AB3C805}"/>
              </a:ext>
            </a:extLst>
          </p:cNvPr>
          <p:cNvSpPr txBox="1"/>
          <p:nvPr/>
        </p:nvSpPr>
        <p:spPr>
          <a:xfrm>
            <a:off x="5969116" y="3716868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C782C95-3478-464F-9C6B-43448E99F8A9}"/>
              </a:ext>
            </a:extLst>
          </p:cNvPr>
          <p:cNvCxnSpPr>
            <a:cxnSpLocks/>
            <a:stCxn id="39" idx="0"/>
            <a:endCxn id="2" idx="2"/>
          </p:cNvCxnSpPr>
          <p:nvPr/>
        </p:nvCxnSpPr>
        <p:spPr>
          <a:xfrm flipH="1" flipV="1">
            <a:off x="4044653" y="3006969"/>
            <a:ext cx="13348" cy="562296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9C0CA07C-5A11-4C70-BF4D-DE551FB40688}"/>
              </a:ext>
            </a:extLst>
          </p:cNvPr>
          <p:cNvSpPr txBox="1"/>
          <p:nvPr/>
        </p:nvSpPr>
        <p:spPr>
          <a:xfrm>
            <a:off x="4021292" y="313727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FA8297A-5596-4FFE-82B4-7F80E24DA424}"/>
              </a:ext>
            </a:extLst>
          </p:cNvPr>
          <p:cNvGrpSpPr/>
          <p:nvPr/>
        </p:nvGrpSpPr>
        <p:grpSpPr>
          <a:xfrm>
            <a:off x="2345217" y="1546491"/>
            <a:ext cx="3332455" cy="3704735"/>
            <a:chOff x="196828" y="890805"/>
            <a:chExt cx="4523821" cy="549536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A25419-9613-4D6D-B201-A7601453CF05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855CBFC-D0D7-450E-B324-36DAE9C94A5B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FD5942B7-C1BD-4214-AE31-281D2F370477}"/>
              </a:ext>
            </a:extLst>
          </p:cNvPr>
          <p:cNvSpPr/>
          <p:nvPr/>
        </p:nvSpPr>
        <p:spPr>
          <a:xfrm>
            <a:off x="544595" y="2088126"/>
            <a:ext cx="1296953" cy="513453"/>
          </a:xfrm>
          <a:prstGeom prst="wedgeRoundRectCallout">
            <a:avLst>
              <a:gd name="adj1" fmla="val 164539"/>
              <a:gd name="adj2" fmla="val 8223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dentifies the Elem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A6E5754F-A5BD-47A3-AC8C-4AD8B15D6C3F}"/>
              </a:ext>
            </a:extLst>
          </p:cNvPr>
          <p:cNvSpPr/>
          <p:nvPr/>
        </p:nvSpPr>
        <p:spPr>
          <a:xfrm>
            <a:off x="9854489" y="935455"/>
            <a:ext cx="2008799" cy="455863"/>
          </a:xfrm>
          <a:prstGeom prst="wedgeRoundRectCallout">
            <a:avLst>
              <a:gd name="adj1" fmla="val -77169"/>
              <a:gd name="adj2" fmla="val 292877"/>
              <a:gd name="adj3" fmla="val 16667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IFS Identity</a:t>
            </a:r>
          </a:p>
          <a:p>
            <a:pPr algn="ctr"/>
            <a:r>
              <a:rPr lang="en-US" sz="1100" dirty="0"/>
              <a:t>FederationGUID=abd523f7</a:t>
            </a:r>
          </a:p>
        </p:txBody>
      </p:sp>
      <p:sp>
        <p:nvSpPr>
          <p:cNvPr id="36" name="Speech Bubble: Rectangle with Corners Rounded 35">
            <a:extLst>
              <a:ext uri="{FF2B5EF4-FFF2-40B4-BE49-F238E27FC236}">
                <a16:creationId xmlns:a16="http://schemas.microsoft.com/office/drawing/2014/main" id="{D2AD2E51-7F5B-4D03-9E0D-3C75D33242A9}"/>
              </a:ext>
            </a:extLst>
          </p:cNvPr>
          <p:cNvSpPr/>
          <p:nvPr/>
        </p:nvSpPr>
        <p:spPr>
          <a:xfrm>
            <a:off x="6375994" y="5686157"/>
            <a:ext cx="2008799" cy="455863"/>
          </a:xfrm>
          <a:prstGeom prst="wedgeRoundRectCallout">
            <a:avLst>
              <a:gd name="adj1" fmla="val 64798"/>
              <a:gd name="adj2" fmla="val -326757"/>
              <a:gd name="adj3" fmla="val 16667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IFS Identity</a:t>
            </a:r>
          </a:p>
          <a:p>
            <a:pPr algn="ctr"/>
            <a:r>
              <a:rPr lang="en-US" sz="1100" dirty="0"/>
              <a:t>FederationGUID=923deeab</a:t>
            </a:r>
          </a:p>
        </p:txBody>
      </p:sp>
      <p:sp>
        <p:nvSpPr>
          <p:cNvPr id="37" name="Speech Bubble: Rectangle with Corners Rounded 36">
            <a:extLst>
              <a:ext uri="{FF2B5EF4-FFF2-40B4-BE49-F238E27FC236}">
                <a16:creationId xmlns:a16="http://schemas.microsoft.com/office/drawing/2014/main" id="{12562369-91A2-4D94-A400-27E612A713B7}"/>
              </a:ext>
            </a:extLst>
          </p:cNvPr>
          <p:cNvSpPr/>
          <p:nvPr/>
        </p:nvSpPr>
        <p:spPr>
          <a:xfrm>
            <a:off x="6053491" y="1090628"/>
            <a:ext cx="2288173" cy="455863"/>
          </a:xfrm>
          <a:prstGeom prst="wedgeRoundRectCallout">
            <a:avLst>
              <a:gd name="adj1" fmla="val 60291"/>
              <a:gd name="adj2" fmla="val 275003"/>
              <a:gd name="adj3" fmla="val 16667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CS Entry</a:t>
            </a:r>
          </a:p>
          <a:p>
            <a:pPr algn="ctr"/>
            <a:r>
              <a:rPr lang="en-US" sz="1100" dirty="0"/>
              <a:t>Code (Serial #) = D2003-23-92-a</a:t>
            </a:r>
          </a:p>
        </p:txBody>
      </p:sp>
      <p:sp>
        <p:nvSpPr>
          <p:cNvPr id="38" name="Speech Bubble: Rectangle with Corners Rounded 37">
            <a:extLst>
              <a:ext uri="{FF2B5EF4-FFF2-40B4-BE49-F238E27FC236}">
                <a16:creationId xmlns:a16="http://schemas.microsoft.com/office/drawing/2014/main" id="{59BC7454-5663-46F2-83A5-5708E4F782FD}"/>
              </a:ext>
            </a:extLst>
          </p:cNvPr>
          <p:cNvSpPr/>
          <p:nvPr/>
        </p:nvSpPr>
        <p:spPr>
          <a:xfrm>
            <a:off x="8685414" y="5680431"/>
            <a:ext cx="1735125" cy="455863"/>
          </a:xfrm>
          <a:prstGeom prst="wedgeRoundRectCallout">
            <a:avLst>
              <a:gd name="adj1" fmla="val -45351"/>
              <a:gd name="adj2" fmla="val -320799"/>
              <a:gd name="adj3" fmla="val 16667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CS Entry</a:t>
            </a:r>
          </a:p>
          <a:p>
            <a:pPr algn="ctr"/>
            <a:r>
              <a:rPr lang="en-US" sz="1100" dirty="0"/>
              <a:t>Code (Tag #) = BA-003</a:t>
            </a:r>
          </a:p>
        </p:txBody>
      </p:sp>
      <p:sp>
        <p:nvSpPr>
          <p:cNvPr id="44" name="Speech Bubble: Rectangle with Corners Rounded 43">
            <a:extLst>
              <a:ext uri="{FF2B5EF4-FFF2-40B4-BE49-F238E27FC236}">
                <a16:creationId xmlns:a16="http://schemas.microsoft.com/office/drawing/2014/main" id="{48DF0AC6-7EA8-4F97-9779-F0F64BBD2931}"/>
              </a:ext>
            </a:extLst>
          </p:cNvPr>
          <p:cNvSpPr/>
          <p:nvPr/>
        </p:nvSpPr>
        <p:spPr>
          <a:xfrm>
            <a:off x="544595" y="2896487"/>
            <a:ext cx="1296953" cy="513453"/>
          </a:xfrm>
          <a:prstGeom prst="wedgeRoundRectCallout">
            <a:avLst>
              <a:gd name="adj1" fmla="val 147087"/>
              <a:gd name="adj2" fmla="val -102862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dentifies the Entit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Speech Bubble: Rectangle with Corners Rounded 44">
            <a:extLst>
              <a:ext uri="{FF2B5EF4-FFF2-40B4-BE49-F238E27FC236}">
                <a16:creationId xmlns:a16="http://schemas.microsoft.com/office/drawing/2014/main" id="{CF6AFE4E-BB45-4104-9F42-E8631E2C2B0F}"/>
              </a:ext>
            </a:extLst>
          </p:cNvPr>
          <p:cNvSpPr/>
          <p:nvPr/>
        </p:nvSpPr>
        <p:spPr>
          <a:xfrm>
            <a:off x="72428" y="2844357"/>
            <a:ext cx="2104245" cy="820381"/>
          </a:xfrm>
          <a:prstGeom prst="wedgeRoundRectCallout">
            <a:avLst>
              <a:gd name="adj1" fmla="val 92132"/>
              <a:gd name="adj2" fmla="val -51931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dentifies the real-world Entity that the Element represent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4204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42">
            <a:extLst>
              <a:ext uri="{FF2B5EF4-FFF2-40B4-BE49-F238E27FC236}">
                <a16:creationId xmlns:a16="http://schemas.microsoft.com/office/drawing/2014/main" id="{BF9523D9-7CFD-463A-BCC8-389EAFE5163A}"/>
              </a:ext>
            </a:extLst>
          </p:cNvPr>
          <p:cNvGrpSpPr/>
          <p:nvPr/>
        </p:nvGrpSpPr>
        <p:grpSpPr>
          <a:xfrm>
            <a:off x="4633625" y="2221326"/>
            <a:ext cx="2676759" cy="2327428"/>
            <a:chOff x="1458521" y="1335914"/>
            <a:chExt cx="2676759" cy="2327428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4B705BA-05A2-47C5-AB8A-71E8E94C07CE}"/>
                </a:ext>
              </a:extLst>
            </p:cNvPr>
            <p:cNvSpPr/>
            <p:nvPr/>
          </p:nvSpPr>
          <p:spPr>
            <a:xfrm rot="12600000" flipV="1">
              <a:off x="1458521" y="1335914"/>
              <a:ext cx="2676759" cy="2327428"/>
            </a:xfrm>
            <a:custGeom>
              <a:avLst/>
              <a:gdLst>
                <a:gd name="connsiteX0" fmla="*/ 2004082 w 2676759"/>
                <a:gd name="connsiteY0" fmla="*/ 2662 h 2327428"/>
                <a:gd name="connsiteX1" fmla="*/ 2003566 w 2676759"/>
                <a:gd name="connsiteY1" fmla="*/ 2661 h 2327428"/>
                <a:gd name="connsiteX2" fmla="*/ 2003307 w 2676759"/>
                <a:gd name="connsiteY2" fmla="*/ 2215 h 2327428"/>
                <a:gd name="connsiteX3" fmla="*/ 2003049 w 2676759"/>
                <a:gd name="connsiteY3" fmla="*/ 2660 h 2327428"/>
                <a:gd name="connsiteX4" fmla="*/ 662416 w 2676759"/>
                <a:gd name="connsiteY4" fmla="*/ 0 h 2327428"/>
                <a:gd name="connsiteX5" fmla="*/ 666005 w 2676759"/>
                <a:gd name="connsiteY5" fmla="*/ 6216 h 2327428"/>
                <a:gd name="connsiteX6" fmla="*/ 516 w 2676759"/>
                <a:gd name="connsiteY6" fmla="*/ 1164179 h 2327428"/>
                <a:gd name="connsiteX7" fmla="*/ 0 w 2676759"/>
                <a:gd name="connsiteY7" fmla="*/ 1164180 h 2327428"/>
                <a:gd name="connsiteX8" fmla="*/ 257 w 2676759"/>
                <a:gd name="connsiteY8" fmla="*/ 1164627 h 2327428"/>
                <a:gd name="connsiteX9" fmla="*/ 1 w 2676759"/>
                <a:gd name="connsiteY9" fmla="*/ 1165075 h 2327428"/>
                <a:gd name="connsiteX10" fmla="*/ 516 w 2676759"/>
                <a:gd name="connsiteY10" fmla="*/ 1165076 h 2327428"/>
                <a:gd name="connsiteX11" fmla="*/ 663210 w 2676759"/>
                <a:gd name="connsiteY11" fmla="*/ 2318175 h 2327428"/>
                <a:gd name="connsiteX12" fmla="*/ 662729 w 2676759"/>
                <a:gd name="connsiteY12" fmla="*/ 2319004 h 2327428"/>
                <a:gd name="connsiteX13" fmla="*/ 663686 w 2676759"/>
                <a:gd name="connsiteY13" fmla="*/ 2319004 h 2327428"/>
                <a:gd name="connsiteX14" fmla="*/ 668528 w 2676759"/>
                <a:gd name="connsiteY14" fmla="*/ 2327428 h 2327428"/>
                <a:gd name="connsiteX15" fmla="*/ 673392 w 2676759"/>
                <a:gd name="connsiteY15" fmla="*/ 2319004 h 2327428"/>
                <a:gd name="connsiteX16" fmla="*/ 2001831 w 2676759"/>
                <a:gd name="connsiteY16" fmla="*/ 2319004 h 2327428"/>
                <a:gd name="connsiteX17" fmla="*/ 2003619 w 2676759"/>
                <a:gd name="connsiteY17" fmla="*/ 2322115 h 2327428"/>
                <a:gd name="connsiteX18" fmla="*/ 2005415 w 2676759"/>
                <a:gd name="connsiteY18" fmla="*/ 2319004 h 2327428"/>
                <a:gd name="connsiteX19" fmla="*/ 2009008 w 2676759"/>
                <a:gd name="connsiteY19" fmla="*/ 2319005 h 2327428"/>
                <a:gd name="connsiteX20" fmla="*/ 2007207 w 2676759"/>
                <a:gd name="connsiteY20" fmla="*/ 2315900 h 2327428"/>
                <a:gd name="connsiteX21" fmla="*/ 2672950 w 2676759"/>
                <a:gd name="connsiteY21" fmla="*/ 1162800 h 2327428"/>
                <a:gd name="connsiteX22" fmla="*/ 2676446 w 2676759"/>
                <a:gd name="connsiteY22" fmla="*/ 1162800 h 2327428"/>
                <a:gd name="connsiteX23" fmla="*/ 2674694 w 2676759"/>
                <a:gd name="connsiteY23" fmla="*/ 1159779 h 2327428"/>
                <a:gd name="connsiteX24" fmla="*/ 2676759 w 2676759"/>
                <a:gd name="connsiteY24" fmla="*/ 1156203 h 2327428"/>
                <a:gd name="connsiteX25" fmla="*/ 2672625 w 2676759"/>
                <a:gd name="connsiteY25" fmla="*/ 1156211 h 2327428"/>
                <a:gd name="connsiteX26" fmla="*/ 2003825 w 2676759"/>
                <a:gd name="connsiteY26" fmla="*/ 3109 h 232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76759" h="2327428">
                  <a:moveTo>
                    <a:pt x="2004082" y="2662"/>
                  </a:moveTo>
                  <a:lnTo>
                    <a:pt x="2003566" y="2661"/>
                  </a:lnTo>
                  <a:lnTo>
                    <a:pt x="2003307" y="2215"/>
                  </a:lnTo>
                  <a:lnTo>
                    <a:pt x="2003049" y="2660"/>
                  </a:lnTo>
                  <a:lnTo>
                    <a:pt x="662416" y="0"/>
                  </a:lnTo>
                  <a:lnTo>
                    <a:pt x="666005" y="6216"/>
                  </a:lnTo>
                  <a:lnTo>
                    <a:pt x="516" y="1164179"/>
                  </a:lnTo>
                  <a:lnTo>
                    <a:pt x="0" y="1164180"/>
                  </a:lnTo>
                  <a:lnTo>
                    <a:pt x="257" y="1164627"/>
                  </a:lnTo>
                  <a:lnTo>
                    <a:pt x="1" y="1165075"/>
                  </a:lnTo>
                  <a:lnTo>
                    <a:pt x="516" y="1165076"/>
                  </a:lnTo>
                  <a:lnTo>
                    <a:pt x="663210" y="2318175"/>
                  </a:lnTo>
                  <a:lnTo>
                    <a:pt x="662729" y="2319004"/>
                  </a:lnTo>
                  <a:lnTo>
                    <a:pt x="663686" y="2319004"/>
                  </a:lnTo>
                  <a:lnTo>
                    <a:pt x="668528" y="2327428"/>
                  </a:lnTo>
                  <a:lnTo>
                    <a:pt x="673392" y="2319004"/>
                  </a:lnTo>
                  <a:lnTo>
                    <a:pt x="2001831" y="2319004"/>
                  </a:lnTo>
                  <a:lnTo>
                    <a:pt x="2003619" y="2322115"/>
                  </a:lnTo>
                  <a:lnTo>
                    <a:pt x="2005415" y="2319004"/>
                  </a:lnTo>
                  <a:lnTo>
                    <a:pt x="2009008" y="2319005"/>
                  </a:lnTo>
                  <a:lnTo>
                    <a:pt x="2007207" y="2315900"/>
                  </a:lnTo>
                  <a:lnTo>
                    <a:pt x="2672950" y="1162800"/>
                  </a:lnTo>
                  <a:lnTo>
                    <a:pt x="2676446" y="1162800"/>
                  </a:lnTo>
                  <a:lnTo>
                    <a:pt x="2674694" y="1159779"/>
                  </a:lnTo>
                  <a:lnTo>
                    <a:pt x="2676759" y="1156203"/>
                  </a:lnTo>
                  <a:lnTo>
                    <a:pt x="2672625" y="1156211"/>
                  </a:lnTo>
                  <a:lnTo>
                    <a:pt x="2003825" y="3109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08BD53B-1373-4D3D-9BA2-1E00FB0E1304}"/>
                </a:ext>
              </a:extLst>
            </p:cNvPr>
            <p:cNvSpPr/>
            <p:nvPr/>
          </p:nvSpPr>
          <p:spPr>
            <a:xfrm>
              <a:off x="2135984" y="2037964"/>
              <a:ext cx="1321836" cy="92333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none" anchor="ctr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al World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Physical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Object</a:t>
              </a:r>
            </a:p>
          </p:txBody>
        </p:sp>
      </p:grpSp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 with the real world…</a:t>
            </a:r>
          </a:p>
        </p:txBody>
      </p:sp>
    </p:spTree>
    <p:extLst>
      <p:ext uri="{BB962C8B-B14F-4D97-AF65-F5344CB8AC3E}">
        <p14:creationId xmlns:p14="http://schemas.microsoft.com/office/powerpoint/2010/main" val="2487519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758952"/>
          </a:xfrm>
        </p:spPr>
        <p:txBody>
          <a:bodyPr/>
          <a:lstStyle/>
          <a:p>
            <a:r>
              <a:rPr lang="en-US" dirty="0"/>
              <a:t>Whole-Part in the physical worl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6667FA-4477-4853-8B6E-73AE67495E70}"/>
              </a:ext>
            </a:extLst>
          </p:cNvPr>
          <p:cNvSpPr txBox="1"/>
          <p:nvPr/>
        </p:nvSpPr>
        <p:spPr>
          <a:xfrm>
            <a:off x="8315733" y="1764194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003A512-C78D-4585-98DA-9F23A18CA65F}"/>
              </a:ext>
            </a:extLst>
          </p:cNvPr>
          <p:cNvSpPr/>
          <p:nvPr/>
        </p:nvSpPr>
        <p:spPr>
          <a:xfrm>
            <a:off x="6545492" y="1658481"/>
            <a:ext cx="4149011" cy="3247474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66BDEE1D-40B3-4872-AD0D-B7FFD6580AA6}"/>
              </a:ext>
            </a:extLst>
          </p:cNvPr>
          <p:cNvSpPr/>
          <p:nvPr/>
        </p:nvSpPr>
        <p:spPr>
          <a:xfrm rot="12600000" flipV="1">
            <a:off x="7672569" y="1276623"/>
            <a:ext cx="867032" cy="501921"/>
          </a:xfrm>
          <a:custGeom>
            <a:avLst/>
            <a:gdLst>
              <a:gd name="connsiteX0" fmla="*/ 2014030 w 2014030"/>
              <a:gd name="connsiteY0" fmla="*/ 1162800 h 1165911"/>
              <a:gd name="connsiteX1" fmla="*/ 1341409 w 2014030"/>
              <a:gd name="connsiteY1" fmla="*/ 3109 h 1165911"/>
              <a:gd name="connsiteX2" fmla="*/ 1341666 w 2014030"/>
              <a:gd name="connsiteY2" fmla="*/ 2662 h 1165911"/>
              <a:gd name="connsiteX3" fmla="*/ 1341150 w 2014030"/>
              <a:gd name="connsiteY3" fmla="*/ 2661 h 1165911"/>
              <a:gd name="connsiteX4" fmla="*/ 1340891 w 2014030"/>
              <a:gd name="connsiteY4" fmla="*/ 2215 h 1165911"/>
              <a:gd name="connsiteX5" fmla="*/ 1340633 w 2014030"/>
              <a:gd name="connsiteY5" fmla="*/ 2660 h 1165911"/>
              <a:gd name="connsiteX6" fmla="*/ 0 w 2014030"/>
              <a:gd name="connsiteY6" fmla="*/ 0 h 1165911"/>
              <a:gd name="connsiteX7" fmla="*/ 669551 w 2014030"/>
              <a:gd name="connsiteY7" fmla="*/ 1159696 h 1165911"/>
              <a:gd name="connsiteX8" fmla="*/ 667751 w 2014030"/>
              <a:gd name="connsiteY8" fmla="*/ 1162800 h 1165911"/>
              <a:gd name="connsiteX9" fmla="*/ 671343 w 2014030"/>
              <a:gd name="connsiteY9" fmla="*/ 1162800 h 1165911"/>
              <a:gd name="connsiteX10" fmla="*/ 673139 w 2014030"/>
              <a:gd name="connsiteY10" fmla="*/ 1165911 h 1165911"/>
              <a:gd name="connsiteX11" fmla="*/ 674927 w 2014030"/>
              <a:gd name="connsiteY11" fmla="*/ 1162800 h 1165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14030" h="1165911">
                <a:moveTo>
                  <a:pt x="2014030" y="1162800"/>
                </a:moveTo>
                <a:lnTo>
                  <a:pt x="1341409" y="3109"/>
                </a:lnTo>
                <a:lnTo>
                  <a:pt x="1341666" y="2662"/>
                </a:lnTo>
                <a:lnTo>
                  <a:pt x="1341150" y="2661"/>
                </a:lnTo>
                <a:lnTo>
                  <a:pt x="1340891" y="2215"/>
                </a:lnTo>
                <a:lnTo>
                  <a:pt x="1340633" y="2660"/>
                </a:lnTo>
                <a:lnTo>
                  <a:pt x="0" y="0"/>
                </a:lnTo>
                <a:lnTo>
                  <a:pt x="669551" y="1159696"/>
                </a:lnTo>
                <a:lnTo>
                  <a:pt x="667751" y="1162800"/>
                </a:lnTo>
                <a:lnTo>
                  <a:pt x="671343" y="1162800"/>
                </a:lnTo>
                <a:lnTo>
                  <a:pt x="673139" y="1165911"/>
                </a:lnTo>
                <a:lnTo>
                  <a:pt x="674927" y="11628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B304619-852E-41A9-9A3A-9E7C9A8EB376}"/>
              </a:ext>
            </a:extLst>
          </p:cNvPr>
          <p:cNvSpPr txBox="1"/>
          <p:nvPr/>
        </p:nvSpPr>
        <p:spPr>
          <a:xfrm>
            <a:off x="8645658" y="1096568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170" name="Freeform: Shape 169">
            <a:extLst>
              <a:ext uri="{FF2B5EF4-FFF2-40B4-BE49-F238E27FC236}">
                <a16:creationId xmlns:a16="http://schemas.microsoft.com/office/drawing/2014/main" id="{C52D8A2D-2DA9-4CB5-9354-6A69C22DCB14}"/>
              </a:ext>
            </a:extLst>
          </p:cNvPr>
          <p:cNvSpPr/>
          <p:nvPr/>
        </p:nvSpPr>
        <p:spPr>
          <a:xfrm rot="12600000" flipV="1">
            <a:off x="7217681" y="1954455"/>
            <a:ext cx="867032" cy="501921"/>
          </a:xfrm>
          <a:custGeom>
            <a:avLst/>
            <a:gdLst>
              <a:gd name="connsiteX0" fmla="*/ 2014030 w 2014030"/>
              <a:gd name="connsiteY0" fmla="*/ 1162800 h 1165911"/>
              <a:gd name="connsiteX1" fmla="*/ 1341409 w 2014030"/>
              <a:gd name="connsiteY1" fmla="*/ 3109 h 1165911"/>
              <a:gd name="connsiteX2" fmla="*/ 1341666 w 2014030"/>
              <a:gd name="connsiteY2" fmla="*/ 2662 h 1165911"/>
              <a:gd name="connsiteX3" fmla="*/ 1341150 w 2014030"/>
              <a:gd name="connsiteY3" fmla="*/ 2661 h 1165911"/>
              <a:gd name="connsiteX4" fmla="*/ 1340891 w 2014030"/>
              <a:gd name="connsiteY4" fmla="*/ 2215 h 1165911"/>
              <a:gd name="connsiteX5" fmla="*/ 1340633 w 2014030"/>
              <a:gd name="connsiteY5" fmla="*/ 2660 h 1165911"/>
              <a:gd name="connsiteX6" fmla="*/ 0 w 2014030"/>
              <a:gd name="connsiteY6" fmla="*/ 0 h 1165911"/>
              <a:gd name="connsiteX7" fmla="*/ 669551 w 2014030"/>
              <a:gd name="connsiteY7" fmla="*/ 1159696 h 1165911"/>
              <a:gd name="connsiteX8" fmla="*/ 667751 w 2014030"/>
              <a:gd name="connsiteY8" fmla="*/ 1162800 h 1165911"/>
              <a:gd name="connsiteX9" fmla="*/ 671343 w 2014030"/>
              <a:gd name="connsiteY9" fmla="*/ 1162800 h 1165911"/>
              <a:gd name="connsiteX10" fmla="*/ 673139 w 2014030"/>
              <a:gd name="connsiteY10" fmla="*/ 1165911 h 1165911"/>
              <a:gd name="connsiteX11" fmla="*/ 674927 w 2014030"/>
              <a:gd name="connsiteY11" fmla="*/ 1162800 h 1165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14030" h="1165911">
                <a:moveTo>
                  <a:pt x="2014030" y="1162800"/>
                </a:moveTo>
                <a:lnTo>
                  <a:pt x="1341409" y="3109"/>
                </a:lnTo>
                <a:lnTo>
                  <a:pt x="1341666" y="2662"/>
                </a:lnTo>
                <a:lnTo>
                  <a:pt x="1341150" y="2661"/>
                </a:lnTo>
                <a:lnTo>
                  <a:pt x="1340891" y="2215"/>
                </a:lnTo>
                <a:lnTo>
                  <a:pt x="1340633" y="2660"/>
                </a:lnTo>
                <a:lnTo>
                  <a:pt x="0" y="0"/>
                </a:lnTo>
                <a:lnTo>
                  <a:pt x="669551" y="1159696"/>
                </a:lnTo>
                <a:lnTo>
                  <a:pt x="667751" y="1162800"/>
                </a:lnTo>
                <a:lnTo>
                  <a:pt x="671343" y="1162800"/>
                </a:lnTo>
                <a:lnTo>
                  <a:pt x="673139" y="1165911"/>
                </a:lnTo>
                <a:lnTo>
                  <a:pt x="674927" y="11628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51D40823-2830-4C2C-AEFD-F6F4B67E98BC}"/>
              </a:ext>
            </a:extLst>
          </p:cNvPr>
          <p:cNvSpPr txBox="1"/>
          <p:nvPr/>
        </p:nvSpPr>
        <p:spPr>
          <a:xfrm>
            <a:off x="7469424" y="2019479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A58BA6A8-3849-4A7D-B93E-C9D6D202F879}"/>
              </a:ext>
            </a:extLst>
          </p:cNvPr>
          <p:cNvGrpSpPr/>
          <p:nvPr/>
        </p:nvGrpSpPr>
        <p:grpSpPr>
          <a:xfrm>
            <a:off x="6376945" y="930695"/>
            <a:ext cx="4468633" cy="4127162"/>
            <a:chOff x="7421438" y="796949"/>
            <a:chExt cx="3328289" cy="5495363"/>
          </a:xfrm>
        </p:grpSpPr>
        <p:sp>
          <p:nvSpPr>
            <p:cNvPr id="200" name="Rectangle: Rounded Corners 199">
              <a:extLst>
                <a:ext uri="{FF2B5EF4-FFF2-40B4-BE49-F238E27FC236}">
                  <a16:creationId xmlns:a16="http://schemas.microsoft.com/office/drawing/2014/main" id="{8948C40A-E49A-4CF9-B4C4-EDE283FC0965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BDFDAF7D-3E05-4FE9-9C81-391152A87894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sp>
        <p:nvSpPr>
          <p:cNvPr id="205" name="TextBox 204">
            <a:extLst>
              <a:ext uri="{FF2B5EF4-FFF2-40B4-BE49-F238E27FC236}">
                <a16:creationId xmlns:a16="http://schemas.microsoft.com/office/drawing/2014/main" id="{58D6E74B-30B4-4155-B7FF-A9631E2BFDA2}"/>
              </a:ext>
            </a:extLst>
          </p:cNvPr>
          <p:cNvSpPr txBox="1"/>
          <p:nvPr/>
        </p:nvSpPr>
        <p:spPr>
          <a:xfrm>
            <a:off x="7933374" y="1338235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E8113AEC-CBA2-4EBF-87DB-EDBD39E227F2}"/>
              </a:ext>
            </a:extLst>
          </p:cNvPr>
          <p:cNvSpPr/>
          <p:nvPr/>
        </p:nvSpPr>
        <p:spPr>
          <a:xfrm>
            <a:off x="6674523" y="3075661"/>
            <a:ext cx="2311394" cy="1727924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6DE6D04-ECC8-4A21-AF8C-4F3FD6DA6B04}"/>
              </a:ext>
            </a:extLst>
          </p:cNvPr>
          <p:cNvGrpSpPr/>
          <p:nvPr/>
        </p:nvGrpSpPr>
        <p:grpSpPr>
          <a:xfrm>
            <a:off x="7071446" y="2723071"/>
            <a:ext cx="867032" cy="501921"/>
            <a:chOff x="8144873" y="2723071"/>
            <a:chExt cx="867032" cy="501921"/>
          </a:xfrm>
        </p:grpSpPr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EAF0BBE6-22C0-449C-A08B-C65C8D8B37CE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D31E77A4-547B-47F9-9EE0-58BFABC444AD}"/>
                </a:ext>
              </a:extLst>
            </p:cNvPr>
            <p:cNvSpPr txBox="1"/>
            <p:nvPr/>
          </p:nvSpPr>
          <p:spPr>
            <a:xfrm>
              <a:off x="8393906" y="2784366"/>
              <a:ext cx="3173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E79CFC2-3A64-4F3B-B591-F66A541B8FDC}"/>
              </a:ext>
            </a:extLst>
          </p:cNvPr>
          <p:cNvGrpSpPr/>
          <p:nvPr/>
        </p:nvGrpSpPr>
        <p:grpSpPr>
          <a:xfrm>
            <a:off x="7485698" y="3426926"/>
            <a:ext cx="672340" cy="396504"/>
            <a:chOff x="8793817" y="3464282"/>
            <a:chExt cx="672340" cy="396504"/>
          </a:xfrm>
        </p:grpSpPr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62D0BA34-3F8B-46D0-9961-EF0E84D35778}"/>
                </a:ext>
              </a:extLst>
            </p:cNvPr>
            <p:cNvSpPr/>
            <p:nvPr/>
          </p:nvSpPr>
          <p:spPr>
            <a:xfrm rot="12600000" flipV="1">
              <a:off x="8793817" y="3471571"/>
              <a:ext cx="672340" cy="389215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D8B02A8C-5A11-4CD0-94BB-AFD01781828D}"/>
                </a:ext>
              </a:extLst>
            </p:cNvPr>
            <p:cNvSpPr txBox="1"/>
            <p:nvPr/>
          </p:nvSpPr>
          <p:spPr>
            <a:xfrm>
              <a:off x="8976263" y="3464282"/>
              <a:ext cx="2460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D6EFD28-11E1-468F-BC12-E0F2139F076C}"/>
              </a:ext>
            </a:extLst>
          </p:cNvPr>
          <p:cNvGrpSpPr/>
          <p:nvPr/>
        </p:nvGrpSpPr>
        <p:grpSpPr>
          <a:xfrm>
            <a:off x="6835279" y="3778977"/>
            <a:ext cx="672340" cy="389215"/>
            <a:chOff x="7908706" y="3778977"/>
            <a:chExt cx="672340" cy="389215"/>
          </a:xfrm>
        </p:grpSpPr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351F08C0-D7B9-4436-9A06-AD5BC46911B2}"/>
                </a:ext>
              </a:extLst>
            </p:cNvPr>
            <p:cNvSpPr/>
            <p:nvPr/>
          </p:nvSpPr>
          <p:spPr>
            <a:xfrm rot="12600000" flipV="1">
              <a:off x="7908706" y="3778977"/>
              <a:ext cx="672340" cy="389215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6D9444E3-ADBC-46E9-987A-9AB02F8EEECA}"/>
                </a:ext>
              </a:extLst>
            </p:cNvPr>
            <p:cNvSpPr txBox="1"/>
            <p:nvPr/>
          </p:nvSpPr>
          <p:spPr>
            <a:xfrm>
              <a:off x="8076595" y="3788672"/>
              <a:ext cx="2460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E78A6400-7B69-4FE4-9849-840C4E094A42}"/>
              </a:ext>
            </a:extLst>
          </p:cNvPr>
          <p:cNvSpPr/>
          <p:nvPr/>
        </p:nvSpPr>
        <p:spPr>
          <a:xfrm>
            <a:off x="8210305" y="3291734"/>
            <a:ext cx="2353016" cy="1312071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506B691B-E59C-42B3-8D78-2BF4681DB33A}"/>
              </a:ext>
            </a:extLst>
          </p:cNvPr>
          <p:cNvGrpSpPr/>
          <p:nvPr/>
        </p:nvGrpSpPr>
        <p:grpSpPr>
          <a:xfrm>
            <a:off x="9720675" y="3426458"/>
            <a:ext cx="672340" cy="396504"/>
            <a:chOff x="8793817" y="3464282"/>
            <a:chExt cx="672340" cy="396504"/>
          </a:xfrm>
        </p:grpSpPr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C78B736-BBEA-45C9-87D9-9311520B67B8}"/>
                </a:ext>
              </a:extLst>
            </p:cNvPr>
            <p:cNvSpPr/>
            <p:nvPr/>
          </p:nvSpPr>
          <p:spPr>
            <a:xfrm rot="12600000" flipV="1">
              <a:off x="8793817" y="3471571"/>
              <a:ext cx="672340" cy="389215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C962A645-2753-476A-A0F8-A1A07D77051A}"/>
                </a:ext>
              </a:extLst>
            </p:cNvPr>
            <p:cNvSpPr txBox="1"/>
            <p:nvPr/>
          </p:nvSpPr>
          <p:spPr>
            <a:xfrm>
              <a:off x="8976263" y="3464282"/>
              <a:ext cx="2460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7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0FDE46C2-8C98-4A04-91E8-5DB232C46634}"/>
              </a:ext>
            </a:extLst>
          </p:cNvPr>
          <p:cNvGrpSpPr/>
          <p:nvPr/>
        </p:nvGrpSpPr>
        <p:grpSpPr>
          <a:xfrm>
            <a:off x="9147672" y="3648174"/>
            <a:ext cx="672340" cy="389215"/>
            <a:chOff x="7908706" y="3778977"/>
            <a:chExt cx="672340" cy="389215"/>
          </a:xfrm>
        </p:grpSpPr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C14C25D3-7C6D-43F6-83D4-CC622D9C50D4}"/>
                </a:ext>
              </a:extLst>
            </p:cNvPr>
            <p:cNvSpPr/>
            <p:nvPr/>
          </p:nvSpPr>
          <p:spPr>
            <a:xfrm rot="12600000" flipV="1">
              <a:off x="7908706" y="3778977"/>
              <a:ext cx="672340" cy="389215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174FB658-36DA-4087-BC7C-FBDE65E58305}"/>
                </a:ext>
              </a:extLst>
            </p:cNvPr>
            <p:cNvSpPr txBox="1"/>
            <p:nvPr/>
          </p:nvSpPr>
          <p:spPr>
            <a:xfrm>
              <a:off x="8076595" y="3788672"/>
              <a:ext cx="2460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6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7A4693B-4B90-41AD-BB06-10F37A2238DD}"/>
              </a:ext>
            </a:extLst>
          </p:cNvPr>
          <p:cNvGrpSpPr/>
          <p:nvPr/>
        </p:nvGrpSpPr>
        <p:grpSpPr>
          <a:xfrm>
            <a:off x="9161686" y="2914796"/>
            <a:ext cx="867032" cy="501921"/>
            <a:chOff x="9676640" y="2318517"/>
            <a:chExt cx="867032" cy="501921"/>
          </a:xfrm>
        </p:grpSpPr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A7810778-0C16-4C67-BEC1-7894D17AF517}"/>
                </a:ext>
              </a:extLst>
            </p:cNvPr>
            <p:cNvSpPr/>
            <p:nvPr/>
          </p:nvSpPr>
          <p:spPr>
            <a:xfrm rot="12600000" flipV="1">
              <a:off x="9676640" y="2318517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9FBBC1BF-CE8B-4FC7-B23E-D65DB3CF4CD5}"/>
                </a:ext>
              </a:extLst>
            </p:cNvPr>
            <p:cNvSpPr txBox="1"/>
            <p:nvPr/>
          </p:nvSpPr>
          <p:spPr>
            <a:xfrm>
              <a:off x="9944446" y="2357910"/>
              <a:ext cx="3173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132" name="TextBox 131">
            <a:extLst>
              <a:ext uri="{FF2B5EF4-FFF2-40B4-BE49-F238E27FC236}">
                <a16:creationId xmlns:a16="http://schemas.microsoft.com/office/drawing/2014/main" id="{C44022E7-C216-419F-86B5-AE2A02AD58B3}"/>
              </a:ext>
            </a:extLst>
          </p:cNvPr>
          <p:cNvSpPr txBox="1"/>
          <p:nvPr/>
        </p:nvSpPr>
        <p:spPr>
          <a:xfrm>
            <a:off x="3583327" y="1771319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F58CFE6E-0C9D-4E8A-81CB-C4F4BF7649F1}"/>
              </a:ext>
            </a:extLst>
          </p:cNvPr>
          <p:cNvSpPr/>
          <p:nvPr/>
        </p:nvSpPr>
        <p:spPr>
          <a:xfrm>
            <a:off x="1813086" y="1665606"/>
            <a:ext cx="4149011" cy="3247474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398658CA-291E-4941-A956-9E630D6D84C9}"/>
              </a:ext>
            </a:extLst>
          </p:cNvPr>
          <p:cNvSpPr/>
          <p:nvPr/>
        </p:nvSpPr>
        <p:spPr>
          <a:xfrm rot="12600000" flipV="1">
            <a:off x="2940163" y="1283748"/>
            <a:ext cx="867032" cy="501921"/>
          </a:xfrm>
          <a:custGeom>
            <a:avLst/>
            <a:gdLst>
              <a:gd name="connsiteX0" fmla="*/ 2014030 w 2014030"/>
              <a:gd name="connsiteY0" fmla="*/ 1162800 h 1165911"/>
              <a:gd name="connsiteX1" fmla="*/ 1341409 w 2014030"/>
              <a:gd name="connsiteY1" fmla="*/ 3109 h 1165911"/>
              <a:gd name="connsiteX2" fmla="*/ 1341666 w 2014030"/>
              <a:gd name="connsiteY2" fmla="*/ 2662 h 1165911"/>
              <a:gd name="connsiteX3" fmla="*/ 1341150 w 2014030"/>
              <a:gd name="connsiteY3" fmla="*/ 2661 h 1165911"/>
              <a:gd name="connsiteX4" fmla="*/ 1340891 w 2014030"/>
              <a:gd name="connsiteY4" fmla="*/ 2215 h 1165911"/>
              <a:gd name="connsiteX5" fmla="*/ 1340633 w 2014030"/>
              <a:gd name="connsiteY5" fmla="*/ 2660 h 1165911"/>
              <a:gd name="connsiteX6" fmla="*/ 0 w 2014030"/>
              <a:gd name="connsiteY6" fmla="*/ 0 h 1165911"/>
              <a:gd name="connsiteX7" fmla="*/ 669551 w 2014030"/>
              <a:gd name="connsiteY7" fmla="*/ 1159696 h 1165911"/>
              <a:gd name="connsiteX8" fmla="*/ 667751 w 2014030"/>
              <a:gd name="connsiteY8" fmla="*/ 1162800 h 1165911"/>
              <a:gd name="connsiteX9" fmla="*/ 671343 w 2014030"/>
              <a:gd name="connsiteY9" fmla="*/ 1162800 h 1165911"/>
              <a:gd name="connsiteX10" fmla="*/ 673139 w 2014030"/>
              <a:gd name="connsiteY10" fmla="*/ 1165911 h 1165911"/>
              <a:gd name="connsiteX11" fmla="*/ 674927 w 2014030"/>
              <a:gd name="connsiteY11" fmla="*/ 1162800 h 1165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14030" h="1165911">
                <a:moveTo>
                  <a:pt x="2014030" y="1162800"/>
                </a:moveTo>
                <a:lnTo>
                  <a:pt x="1341409" y="3109"/>
                </a:lnTo>
                <a:lnTo>
                  <a:pt x="1341666" y="2662"/>
                </a:lnTo>
                <a:lnTo>
                  <a:pt x="1341150" y="2661"/>
                </a:lnTo>
                <a:lnTo>
                  <a:pt x="1340891" y="2215"/>
                </a:lnTo>
                <a:lnTo>
                  <a:pt x="1340633" y="2660"/>
                </a:lnTo>
                <a:lnTo>
                  <a:pt x="0" y="0"/>
                </a:lnTo>
                <a:lnTo>
                  <a:pt x="669551" y="1159696"/>
                </a:lnTo>
                <a:lnTo>
                  <a:pt x="667751" y="1162800"/>
                </a:lnTo>
                <a:lnTo>
                  <a:pt x="671343" y="1162800"/>
                </a:lnTo>
                <a:lnTo>
                  <a:pt x="673139" y="1165911"/>
                </a:lnTo>
                <a:lnTo>
                  <a:pt x="674927" y="11628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B352C25-FC12-436A-940A-B1ECAA45DB9B}"/>
              </a:ext>
            </a:extLst>
          </p:cNvPr>
          <p:cNvSpPr txBox="1"/>
          <p:nvPr/>
        </p:nvSpPr>
        <p:spPr>
          <a:xfrm>
            <a:off x="3913252" y="1103693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137" name="Freeform: Shape 136">
            <a:extLst>
              <a:ext uri="{FF2B5EF4-FFF2-40B4-BE49-F238E27FC236}">
                <a16:creationId xmlns:a16="http://schemas.microsoft.com/office/drawing/2014/main" id="{39131E13-8E6B-41FD-88EB-F89D236F62D0}"/>
              </a:ext>
            </a:extLst>
          </p:cNvPr>
          <p:cNvSpPr/>
          <p:nvPr/>
        </p:nvSpPr>
        <p:spPr>
          <a:xfrm rot="12600000" flipV="1">
            <a:off x="2485275" y="1961580"/>
            <a:ext cx="867032" cy="501921"/>
          </a:xfrm>
          <a:custGeom>
            <a:avLst/>
            <a:gdLst>
              <a:gd name="connsiteX0" fmla="*/ 2014030 w 2014030"/>
              <a:gd name="connsiteY0" fmla="*/ 1162800 h 1165911"/>
              <a:gd name="connsiteX1" fmla="*/ 1341409 w 2014030"/>
              <a:gd name="connsiteY1" fmla="*/ 3109 h 1165911"/>
              <a:gd name="connsiteX2" fmla="*/ 1341666 w 2014030"/>
              <a:gd name="connsiteY2" fmla="*/ 2662 h 1165911"/>
              <a:gd name="connsiteX3" fmla="*/ 1341150 w 2014030"/>
              <a:gd name="connsiteY3" fmla="*/ 2661 h 1165911"/>
              <a:gd name="connsiteX4" fmla="*/ 1340891 w 2014030"/>
              <a:gd name="connsiteY4" fmla="*/ 2215 h 1165911"/>
              <a:gd name="connsiteX5" fmla="*/ 1340633 w 2014030"/>
              <a:gd name="connsiteY5" fmla="*/ 2660 h 1165911"/>
              <a:gd name="connsiteX6" fmla="*/ 0 w 2014030"/>
              <a:gd name="connsiteY6" fmla="*/ 0 h 1165911"/>
              <a:gd name="connsiteX7" fmla="*/ 669551 w 2014030"/>
              <a:gd name="connsiteY7" fmla="*/ 1159696 h 1165911"/>
              <a:gd name="connsiteX8" fmla="*/ 667751 w 2014030"/>
              <a:gd name="connsiteY8" fmla="*/ 1162800 h 1165911"/>
              <a:gd name="connsiteX9" fmla="*/ 671343 w 2014030"/>
              <a:gd name="connsiteY9" fmla="*/ 1162800 h 1165911"/>
              <a:gd name="connsiteX10" fmla="*/ 673139 w 2014030"/>
              <a:gd name="connsiteY10" fmla="*/ 1165911 h 1165911"/>
              <a:gd name="connsiteX11" fmla="*/ 674927 w 2014030"/>
              <a:gd name="connsiteY11" fmla="*/ 1162800 h 1165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14030" h="1165911">
                <a:moveTo>
                  <a:pt x="2014030" y="1162800"/>
                </a:moveTo>
                <a:lnTo>
                  <a:pt x="1341409" y="3109"/>
                </a:lnTo>
                <a:lnTo>
                  <a:pt x="1341666" y="2662"/>
                </a:lnTo>
                <a:lnTo>
                  <a:pt x="1341150" y="2661"/>
                </a:lnTo>
                <a:lnTo>
                  <a:pt x="1340891" y="2215"/>
                </a:lnTo>
                <a:lnTo>
                  <a:pt x="1340633" y="2660"/>
                </a:lnTo>
                <a:lnTo>
                  <a:pt x="0" y="0"/>
                </a:lnTo>
                <a:lnTo>
                  <a:pt x="669551" y="1159696"/>
                </a:lnTo>
                <a:lnTo>
                  <a:pt x="667751" y="1162800"/>
                </a:lnTo>
                <a:lnTo>
                  <a:pt x="671343" y="1162800"/>
                </a:lnTo>
                <a:lnTo>
                  <a:pt x="673139" y="1165911"/>
                </a:lnTo>
                <a:lnTo>
                  <a:pt x="674927" y="11628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33E087C7-1183-4874-A349-42EEAA34A567}"/>
              </a:ext>
            </a:extLst>
          </p:cNvPr>
          <p:cNvSpPr txBox="1"/>
          <p:nvPr/>
        </p:nvSpPr>
        <p:spPr>
          <a:xfrm>
            <a:off x="2737018" y="2026604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4DAD756C-E971-48D8-AFC0-FE20766F9CAE}"/>
              </a:ext>
            </a:extLst>
          </p:cNvPr>
          <p:cNvGrpSpPr/>
          <p:nvPr/>
        </p:nvGrpSpPr>
        <p:grpSpPr>
          <a:xfrm>
            <a:off x="1644539" y="937820"/>
            <a:ext cx="4468633" cy="4127162"/>
            <a:chOff x="7421438" y="796949"/>
            <a:chExt cx="3328289" cy="5495363"/>
          </a:xfrm>
        </p:grpSpPr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1FBBB1BD-3119-43AE-8210-367591821FD7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69D728FD-8DE0-421E-9A08-C08BA19833FA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sp>
        <p:nvSpPr>
          <p:cNvPr id="142" name="TextBox 141">
            <a:extLst>
              <a:ext uri="{FF2B5EF4-FFF2-40B4-BE49-F238E27FC236}">
                <a16:creationId xmlns:a16="http://schemas.microsoft.com/office/drawing/2014/main" id="{0EC56F11-A87B-4CC2-AD4D-6D5AAD3C485D}"/>
              </a:ext>
            </a:extLst>
          </p:cNvPr>
          <p:cNvSpPr txBox="1"/>
          <p:nvPr/>
        </p:nvSpPr>
        <p:spPr>
          <a:xfrm>
            <a:off x="3200968" y="1345360"/>
            <a:ext cx="317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078B35B0-6BDD-43F7-B157-68EAD61468DE}"/>
              </a:ext>
            </a:extLst>
          </p:cNvPr>
          <p:cNvSpPr/>
          <p:nvPr/>
        </p:nvSpPr>
        <p:spPr>
          <a:xfrm>
            <a:off x="1942117" y="3082786"/>
            <a:ext cx="1861289" cy="1727924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0E60D90-2F24-448E-B4D1-F64934AEDE0C}"/>
              </a:ext>
            </a:extLst>
          </p:cNvPr>
          <p:cNvGrpSpPr/>
          <p:nvPr/>
        </p:nvGrpSpPr>
        <p:grpSpPr>
          <a:xfrm>
            <a:off x="2339040" y="2730196"/>
            <a:ext cx="867032" cy="501921"/>
            <a:chOff x="8144873" y="2723071"/>
            <a:chExt cx="867032" cy="501921"/>
          </a:xfrm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72C9168-11D8-45DA-A9E3-AC6F586DF392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B6B9E58-1448-476F-8AB1-22B9A13309E3}"/>
                </a:ext>
              </a:extLst>
            </p:cNvPr>
            <p:cNvSpPr txBox="1"/>
            <p:nvPr/>
          </p:nvSpPr>
          <p:spPr>
            <a:xfrm>
              <a:off x="8393906" y="2784366"/>
              <a:ext cx="3173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CEB82B10-BC15-4156-8872-0A3CE9E7AFA2}"/>
              </a:ext>
            </a:extLst>
          </p:cNvPr>
          <p:cNvGrpSpPr/>
          <p:nvPr/>
        </p:nvGrpSpPr>
        <p:grpSpPr>
          <a:xfrm>
            <a:off x="2753292" y="3434051"/>
            <a:ext cx="672340" cy="396504"/>
            <a:chOff x="8793817" y="3464282"/>
            <a:chExt cx="672340" cy="396504"/>
          </a:xfrm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6E771E8-37A2-4A89-BDDE-A13F41E1202D}"/>
                </a:ext>
              </a:extLst>
            </p:cNvPr>
            <p:cNvSpPr/>
            <p:nvPr/>
          </p:nvSpPr>
          <p:spPr>
            <a:xfrm rot="12600000" flipV="1">
              <a:off x="8793817" y="3471571"/>
              <a:ext cx="672340" cy="389215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864CF5E-B9E1-478A-9599-5B85086D50AF}"/>
                </a:ext>
              </a:extLst>
            </p:cNvPr>
            <p:cNvSpPr txBox="1"/>
            <p:nvPr/>
          </p:nvSpPr>
          <p:spPr>
            <a:xfrm>
              <a:off x="8976263" y="3464282"/>
              <a:ext cx="2460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65F552DB-0378-4307-A41A-73E4B75669E9}"/>
              </a:ext>
            </a:extLst>
          </p:cNvPr>
          <p:cNvGrpSpPr/>
          <p:nvPr/>
        </p:nvGrpSpPr>
        <p:grpSpPr>
          <a:xfrm>
            <a:off x="2102873" y="3786102"/>
            <a:ext cx="672340" cy="389215"/>
            <a:chOff x="7908706" y="3778977"/>
            <a:chExt cx="672340" cy="389215"/>
          </a:xfrm>
        </p:grpSpPr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8FCC0C03-5793-4C1B-A6AA-B95E78B2511E}"/>
                </a:ext>
              </a:extLst>
            </p:cNvPr>
            <p:cNvSpPr/>
            <p:nvPr/>
          </p:nvSpPr>
          <p:spPr>
            <a:xfrm rot="12600000" flipV="1">
              <a:off x="7908706" y="3778977"/>
              <a:ext cx="672340" cy="389215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345486C9-BED1-4D97-9DCB-EEB541D6F0A4}"/>
                </a:ext>
              </a:extLst>
            </p:cNvPr>
            <p:cNvSpPr txBox="1"/>
            <p:nvPr/>
          </p:nvSpPr>
          <p:spPr>
            <a:xfrm>
              <a:off x="8076595" y="3788672"/>
              <a:ext cx="2460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6FED0637-C37F-4654-9A6C-4ABB3113FA91}"/>
              </a:ext>
            </a:extLst>
          </p:cNvPr>
          <p:cNvGrpSpPr/>
          <p:nvPr/>
        </p:nvGrpSpPr>
        <p:grpSpPr>
          <a:xfrm>
            <a:off x="4988269" y="3433583"/>
            <a:ext cx="672340" cy="396504"/>
            <a:chOff x="8793817" y="3464282"/>
            <a:chExt cx="672340" cy="396504"/>
          </a:xfrm>
        </p:grpSpPr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36CA5631-29A0-4D65-BBFC-2487F45F4C9E}"/>
                </a:ext>
              </a:extLst>
            </p:cNvPr>
            <p:cNvSpPr/>
            <p:nvPr/>
          </p:nvSpPr>
          <p:spPr>
            <a:xfrm rot="12600000" flipV="1">
              <a:off x="8793817" y="3471571"/>
              <a:ext cx="672340" cy="389215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673E98CF-076A-4CD7-9368-60029C82F11F}"/>
                </a:ext>
              </a:extLst>
            </p:cNvPr>
            <p:cNvSpPr txBox="1"/>
            <p:nvPr/>
          </p:nvSpPr>
          <p:spPr>
            <a:xfrm>
              <a:off x="8976263" y="3464282"/>
              <a:ext cx="2460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7</a:t>
              </a: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30C4195F-0E1D-4EB2-9A20-1DED34FCFB96}"/>
              </a:ext>
            </a:extLst>
          </p:cNvPr>
          <p:cNvGrpSpPr/>
          <p:nvPr/>
        </p:nvGrpSpPr>
        <p:grpSpPr>
          <a:xfrm>
            <a:off x="4415266" y="3655299"/>
            <a:ext cx="672340" cy="389215"/>
            <a:chOff x="7908706" y="3778977"/>
            <a:chExt cx="672340" cy="389215"/>
          </a:xfrm>
        </p:grpSpPr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7EB081D6-629B-4017-BFD4-787E5F576974}"/>
                </a:ext>
              </a:extLst>
            </p:cNvPr>
            <p:cNvSpPr/>
            <p:nvPr/>
          </p:nvSpPr>
          <p:spPr>
            <a:xfrm rot="12600000" flipV="1">
              <a:off x="7908706" y="3778977"/>
              <a:ext cx="672340" cy="389215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E804B1B0-B453-49F2-BCDB-C8B660A06B44}"/>
                </a:ext>
              </a:extLst>
            </p:cNvPr>
            <p:cNvSpPr txBox="1"/>
            <p:nvPr/>
          </p:nvSpPr>
          <p:spPr>
            <a:xfrm>
              <a:off x="8076595" y="3788672"/>
              <a:ext cx="2460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6</a:t>
              </a: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29B18E03-048C-4ED0-9811-37DE017DF363}"/>
              </a:ext>
            </a:extLst>
          </p:cNvPr>
          <p:cNvGrpSpPr/>
          <p:nvPr/>
        </p:nvGrpSpPr>
        <p:grpSpPr>
          <a:xfrm>
            <a:off x="8265322" y="4152622"/>
            <a:ext cx="672340" cy="396504"/>
            <a:chOff x="8793817" y="3464282"/>
            <a:chExt cx="672340" cy="396504"/>
          </a:xfrm>
        </p:grpSpPr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40536827-5FC0-47D3-8093-51AC8D99FEF1}"/>
                </a:ext>
              </a:extLst>
            </p:cNvPr>
            <p:cNvSpPr/>
            <p:nvPr/>
          </p:nvSpPr>
          <p:spPr>
            <a:xfrm rot="12600000" flipV="1">
              <a:off x="8793817" y="3471571"/>
              <a:ext cx="672340" cy="389215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3B703047-2E8D-4973-86C1-49A59F65AC8C}"/>
                </a:ext>
              </a:extLst>
            </p:cNvPr>
            <p:cNvSpPr txBox="1"/>
            <p:nvPr/>
          </p:nvSpPr>
          <p:spPr>
            <a:xfrm>
              <a:off x="8976263" y="3464282"/>
              <a:ext cx="2460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8</a:t>
              </a:r>
            </a:p>
          </p:txBody>
        </p:sp>
      </p:grp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A999D7BF-F3C6-4674-BDA2-E973012EB602}"/>
              </a:ext>
            </a:extLst>
          </p:cNvPr>
          <p:cNvSpPr/>
          <p:nvPr/>
        </p:nvSpPr>
        <p:spPr>
          <a:xfrm>
            <a:off x="4138613" y="3291734"/>
            <a:ext cx="1704638" cy="1312071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8DFA0931-38A6-4269-8CFF-4BFFB342E502}"/>
              </a:ext>
            </a:extLst>
          </p:cNvPr>
          <p:cNvGrpSpPr/>
          <p:nvPr/>
        </p:nvGrpSpPr>
        <p:grpSpPr>
          <a:xfrm>
            <a:off x="4441616" y="2914796"/>
            <a:ext cx="867032" cy="501921"/>
            <a:chOff x="9676640" y="2318517"/>
            <a:chExt cx="867032" cy="501921"/>
          </a:xfrm>
        </p:grpSpPr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10190DEB-A2D3-4367-8209-44A73FAEB14D}"/>
                </a:ext>
              </a:extLst>
            </p:cNvPr>
            <p:cNvSpPr/>
            <p:nvPr/>
          </p:nvSpPr>
          <p:spPr>
            <a:xfrm rot="12600000" flipV="1">
              <a:off x="9676640" y="2318517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80C7CC19-9DFA-434A-B2DB-85C0E36B2112}"/>
                </a:ext>
              </a:extLst>
            </p:cNvPr>
            <p:cNvSpPr txBox="1"/>
            <p:nvPr/>
          </p:nvSpPr>
          <p:spPr>
            <a:xfrm>
              <a:off x="9944446" y="2357910"/>
              <a:ext cx="3173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6" name="&quot;Not Allowed&quot; Symbol 5">
            <a:extLst>
              <a:ext uri="{FF2B5EF4-FFF2-40B4-BE49-F238E27FC236}">
                <a16:creationId xmlns:a16="http://schemas.microsoft.com/office/drawing/2014/main" id="{C37C969A-345D-4FDD-840F-45552EF61FF3}"/>
              </a:ext>
            </a:extLst>
          </p:cNvPr>
          <p:cNvSpPr/>
          <p:nvPr/>
        </p:nvSpPr>
        <p:spPr>
          <a:xfrm>
            <a:off x="8255192" y="3861160"/>
            <a:ext cx="689139" cy="689139"/>
          </a:xfrm>
          <a:prstGeom prst="noSmoking">
            <a:avLst>
              <a:gd name="adj" fmla="val 8349"/>
            </a:avLst>
          </a:prstGeom>
          <a:solidFill>
            <a:srgbClr val="C00000"/>
          </a:solidFill>
          <a:ln w="3175"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5BDED91-7859-4FA0-BAEA-BC7043E0D172}"/>
              </a:ext>
            </a:extLst>
          </p:cNvPr>
          <p:cNvSpPr/>
          <p:nvPr/>
        </p:nvSpPr>
        <p:spPr>
          <a:xfrm>
            <a:off x="6169351" y="5299882"/>
            <a:ext cx="5269932" cy="968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tity 8 cannot be part of both Entity 2 and Entity 3. Of course, a whole can be a part of some larger whole, so Entity 5 is part of Entity 3 and also part of Entity 0.</a:t>
            </a:r>
          </a:p>
        </p:txBody>
      </p:sp>
    </p:spTree>
    <p:extLst>
      <p:ext uri="{BB962C8B-B14F-4D97-AF65-F5344CB8AC3E}">
        <p14:creationId xmlns:p14="http://schemas.microsoft.com/office/powerpoint/2010/main" val="13392394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3" grpId="0" animBg="1"/>
      <p:bldP spid="102" grpId="0" animBg="1"/>
      <p:bldP spid="143" grpId="0" animBg="1"/>
      <p:bldP spid="206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771AAC3-0F66-4F7A-9D1A-2100FB23EE81}"/>
              </a:ext>
            </a:extLst>
          </p:cNvPr>
          <p:cNvSpPr/>
          <p:nvPr/>
        </p:nvSpPr>
        <p:spPr>
          <a:xfrm>
            <a:off x="4727051" y="1852649"/>
            <a:ext cx="1041621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Does it have parts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059E1D-DED8-49D3-AB24-8E9226976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98" y="115048"/>
            <a:ext cx="11173968" cy="636493"/>
          </a:xfrm>
        </p:spPr>
        <p:txBody>
          <a:bodyPr/>
          <a:lstStyle/>
          <a:p>
            <a:r>
              <a:rPr lang="en-US" dirty="0"/>
              <a:t>How to model a real-world Entity</a:t>
            </a:r>
          </a:p>
        </p:txBody>
      </p:sp>
      <p:sp>
        <p:nvSpPr>
          <p:cNvPr id="5" name="Flowchart: Decision 4">
            <a:extLst>
              <a:ext uri="{FF2B5EF4-FFF2-40B4-BE49-F238E27FC236}">
                <a16:creationId xmlns:a16="http://schemas.microsoft.com/office/drawing/2014/main" id="{C00EB5A9-4BD0-4C9A-91F1-A4B7B0472C3B}"/>
              </a:ext>
            </a:extLst>
          </p:cNvPr>
          <p:cNvSpPr/>
          <p:nvPr/>
        </p:nvSpPr>
        <p:spPr>
          <a:xfrm>
            <a:off x="4595293" y="1681903"/>
            <a:ext cx="1305137" cy="910217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E6A8CAE-305F-4D10-A262-1D82348001C7}"/>
              </a:ext>
            </a:extLst>
          </p:cNvPr>
          <p:cNvSpPr/>
          <p:nvPr/>
        </p:nvSpPr>
        <p:spPr>
          <a:xfrm>
            <a:off x="3264011" y="1144982"/>
            <a:ext cx="3967700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How should a given real-world Entity be modeled?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005373A-0B0D-480C-8E5F-A8EC16FC2D85}"/>
              </a:ext>
            </a:extLst>
          </p:cNvPr>
          <p:cNvCxnSpPr>
            <a:cxnSpLocks/>
            <a:stCxn id="5" idx="2"/>
            <a:endCxn id="21" idx="0"/>
          </p:cNvCxnSpPr>
          <p:nvPr/>
        </p:nvCxnSpPr>
        <p:spPr>
          <a:xfrm>
            <a:off x="5247862" y="2592120"/>
            <a:ext cx="0" cy="2894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A196DFB6-AB67-48FD-8CFA-9D66816070F8}"/>
              </a:ext>
            </a:extLst>
          </p:cNvPr>
          <p:cNvSpPr/>
          <p:nvPr/>
        </p:nvSpPr>
        <p:spPr>
          <a:xfrm>
            <a:off x="5213396" y="2543890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73E8247-63BD-40CB-B5D7-EB8F76E5402F}"/>
              </a:ext>
            </a:extLst>
          </p:cNvPr>
          <p:cNvSpPr/>
          <p:nvPr/>
        </p:nvSpPr>
        <p:spPr>
          <a:xfrm>
            <a:off x="5955523" y="1875707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C837B73-EA2C-40F1-ADFA-376845ECA2BF}"/>
              </a:ext>
            </a:extLst>
          </p:cNvPr>
          <p:cNvSpPr/>
          <p:nvPr/>
        </p:nvSpPr>
        <p:spPr>
          <a:xfrm>
            <a:off x="6989197" y="1970034"/>
            <a:ext cx="2448999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it as an “atomic” Element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6E05BA9-8DD9-4EE3-BF04-7FEBB4AF1020}"/>
              </a:ext>
            </a:extLst>
          </p:cNvPr>
          <p:cNvCxnSpPr>
            <a:cxnSpLocks/>
            <a:stCxn id="5" idx="3"/>
            <a:endCxn id="16" idx="1"/>
          </p:cNvCxnSpPr>
          <p:nvPr/>
        </p:nvCxnSpPr>
        <p:spPr>
          <a:xfrm>
            <a:off x="5900430" y="2137012"/>
            <a:ext cx="108876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F2A6C2DC-7CA3-445F-8DA4-98036E0C2E1B}"/>
              </a:ext>
            </a:extLst>
          </p:cNvPr>
          <p:cNvSpPr/>
          <p:nvPr/>
        </p:nvSpPr>
        <p:spPr>
          <a:xfrm>
            <a:off x="4727051" y="3036391"/>
            <a:ext cx="1041621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Are they individually identified?</a:t>
            </a:r>
          </a:p>
        </p:txBody>
      </p:sp>
      <p:sp>
        <p:nvSpPr>
          <p:cNvPr id="21" name="Flowchart: Decision 20">
            <a:extLst>
              <a:ext uri="{FF2B5EF4-FFF2-40B4-BE49-F238E27FC236}">
                <a16:creationId xmlns:a16="http://schemas.microsoft.com/office/drawing/2014/main" id="{AB77C767-5740-4523-A57E-998EAFB88BAB}"/>
              </a:ext>
            </a:extLst>
          </p:cNvPr>
          <p:cNvSpPr/>
          <p:nvPr/>
        </p:nvSpPr>
        <p:spPr>
          <a:xfrm>
            <a:off x="4543086" y="2881547"/>
            <a:ext cx="1409551" cy="983036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07A05C5-BC7A-4ECB-95B0-1E1D8624CF96}"/>
              </a:ext>
            </a:extLst>
          </p:cNvPr>
          <p:cNvSpPr/>
          <p:nvPr/>
        </p:nvSpPr>
        <p:spPr>
          <a:xfrm>
            <a:off x="5955523" y="3075351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206934A-1226-4463-ACF4-91FBADCE3B3B}"/>
              </a:ext>
            </a:extLst>
          </p:cNvPr>
          <p:cNvSpPr/>
          <p:nvPr/>
        </p:nvSpPr>
        <p:spPr>
          <a:xfrm>
            <a:off x="6989197" y="3134889"/>
            <a:ext cx="3562183" cy="476352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it an “atomic” Element with parts represented in GeometryStream of the Element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FF7699D-108B-477F-BA0D-E32BAC34518D}"/>
              </a:ext>
            </a:extLst>
          </p:cNvPr>
          <p:cNvCxnSpPr>
            <a:cxnSpLocks/>
            <a:stCxn id="21" idx="3"/>
            <a:endCxn id="24" idx="1"/>
          </p:cNvCxnSpPr>
          <p:nvPr/>
        </p:nvCxnSpPr>
        <p:spPr>
          <a:xfrm>
            <a:off x="5952637" y="3373065"/>
            <a:ext cx="103656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D23C0F1-EC45-4852-9A62-02A43380E911}"/>
              </a:ext>
            </a:extLst>
          </p:cNvPr>
          <p:cNvCxnSpPr>
            <a:cxnSpLocks/>
            <a:stCxn id="8" idx="2"/>
            <a:endCxn id="5" idx="0"/>
          </p:cNvCxnSpPr>
          <p:nvPr/>
        </p:nvCxnSpPr>
        <p:spPr>
          <a:xfrm>
            <a:off x="5247861" y="1478937"/>
            <a:ext cx="1" cy="2029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C88A5E51-B076-4E9D-A00A-903C07D4F5A9}"/>
              </a:ext>
            </a:extLst>
          </p:cNvPr>
          <p:cNvSpPr/>
          <p:nvPr/>
        </p:nvSpPr>
        <p:spPr>
          <a:xfrm>
            <a:off x="5229568" y="3803526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B4E4B37-837C-4F7A-AB5C-02749D9C88A6}"/>
              </a:ext>
            </a:extLst>
          </p:cNvPr>
          <p:cNvCxnSpPr>
            <a:cxnSpLocks/>
            <a:stCxn id="21" idx="2"/>
            <a:endCxn id="41" idx="0"/>
          </p:cNvCxnSpPr>
          <p:nvPr/>
        </p:nvCxnSpPr>
        <p:spPr>
          <a:xfrm flipH="1">
            <a:off x="5247861" y="3864583"/>
            <a:ext cx="1" cy="25783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9C3DE5E2-F7F1-4148-9D36-BA90EE9C585C}"/>
              </a:ext>
            </a:extLst>
          </p:cNvPr>
          <p:cNvSpPr/>
          <p:nvPr/>
        </p:nvSpPr>
        <p:spPr>
          <a:xfrm>
            <a:off x="4472080" y="4496797"/>
            <a:ext cx="1560310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Considered</a:t>
            </a:r>
          </a:p>
          <a:p>
            <a:pPr algn="ctr"/>
            <a:r>
              <a:rPr lang="en-US" sz="1200" u="sng" dirty="0"/>
              <a:t>both</a:t>
            </a:r>
            <a:r>
              <a:rPr lang="en-US" sz="1200" dirty="0"/>
              <a:t> as a whole and also as individual parts?</a:t>
            </a:r>
          </a:p>
        </p:txBody>
      </p:sp>
      <p:sp>
        <p:nvSpPr>
          <p:cNvPr id="41" name="Flowchart: Decision 40">
            <a:extLst>
              <a:ext uri="{FF2B5EF4-FFF2-40B4-BE49-F238E27FC236}">
                <a16:creationId xmlns:a16="http://schemas.microsoft.com/office/drawing/2014/main" id="{7F02AB72-B3CA-4C54-B34F-F240175CE251}"/>
              </a:ext>
            </a:extLst>
          </p:cNvPr>
          <p:cNvSpPr/>
          <p:nvPr/>
        </p:nvSpPr>
        <p:spPr>
          <a:xfrm>
            <a:off x="4386470" y="4122413"/>
            <a:ext cx="1722782" cy="1292415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EE57914-3900-437E-9848-0B5C1FAD45CE}"/>
              </a:ext>
            </a:extLst>
          </p:cNvPr>
          <p:cNvSpPr/>
          <p:nvPr/>
        </p:nvSpPr>
        <p:spPr>
          <a:xfrm>
            <a:off x="5955523" y="4433374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E32A249-3E2D-4655-9497-D7385B097797}"/>
              </a:ext>
            </a:extLst>
          </p:cNvPr>
          <p:cNvCxnSpPr>
            <a:cxnSpLocks/>
            <a:stCxn id="41" idx="3"/>
            <a:endCxn id="36" idx="1"/>
          </p:cNvCxnSpPr>
          <p:nvPr/>
        </p:nvCxnSpPr>
        <p:spPr>
          <a:xfrm>
            <a:off x="6109252" y="4768621"/>
            <a:ext cx="87994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EE4E1468-142C-4CA5-8A69-803B74D0F658}"/>
              </a:ext>
            </a:extLst>
          </p:cNvPr>
          <p:cNvSpPr/>
          <p:nvPr/>
        </p:nvSpPr>
        <p:spPr>
          <a:xfrm>
            <a:off x="5247861" y="5300495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01C9FF23-BD1C-450F-B374-F4EF319BEC64}"/>
              </a:ext>
            </a:extLst>
          </p:cNvPr>
          <p:cNvCxnSpPr>
            <a:cxnSpLocks/>
            <a:stCxn id="41" idx="2"/>
            <a:endCxn id="39" idx="0"/>
          </p:cNvCxnSpPr>
          <p:nvPr/>
        </p:nvCxnSpPr>
        <p:spPr>
          <a:xfrm>
            <a:off x="5247861" y="5414828"/>
            <a:ext cx="10317" cy="1814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C210C61-68E5-45E7-921B-2CF58FC66F4B}"/>
              </a:ext>
            </a:extLst>
          </p:cNvPr>
          <p:cNvSpPr/>
          <p:nvPr/>
        </p:nvSpPr>
        <p:spPr>
          <a:xfrm>
            <a:off x="6989197" y="4601643"/>
            <a:ext cx="2154804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parts in a sub-Model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4167E24-40D2-4A73-8F9C-08E3509B2145}"/>
              </a:ext>
            </a:extLst>
          </p:cNvPr>
          <p:cNvSpPr/>
          <p:nvPr/>
        </p:nvSpPr>
        <p:spPr>
          <a:xfrm>
            <a:off x="4206248" y="5596320"/>
            <a:ext cx="2103859" cy="285650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Use parent-child modeling</a:t>
            </a:r>
          </a:p>
        </p:txBody>
      </p:sp>
    </p:spTree>
    <p:extLst>
      <p:ext uri="{BB962C8B-B14F-4D97-AF65-F5344CB8AC3E}">
        <p14:creationId xmlns:p14="http://schemas.microsoft.com/office/powerpoint/2010/main" val="3013562790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771AAC3-0F66-4F7A-9D1A-2100FB23EE81}"/>
              </a:ext>
            </a:extLst>
          </p:cNvPr>
          <p:cNvSpPr/>
          <p:nvPr/>
        </p:nvSpPr>
        <p:spPr>
          <a:xfrm>
            <a:off x="4727051" y="1852649"/>
            <a:ext cx="1041621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Does it have parts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059E1D-DED8-49D3-AB24-8E9226976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98" y="115048"/>
            <a:ext cx="11173968" cy="636493"/>
          </a:xfrm>
        </p:spPr>
        <p:txBody>
          <a:bodyPr/>
          <a:lstStyle/>
          <a:p>
            <a:r>
              <a:rPr lang="en-US" dirty="0"/>
              <a:t>How to model a real-world Entity</a:t>
            </a:r>
          </a:p>
        </p:txBody>
      </p:sp>
      <p:sp>
        <p:nvSpPr>
          <p:cNvPr id="5" name="Flowchart: Decision 4">
            <a:extLst>
              <a:ext uri="{FF2B5EF4-FFF2-40B4-BE49-F238E27FC236}">
                <a16:creationId xmlns:a16="http://schemas.microsoft.com/office/drawing/2014/main" id="{C00EB5A9-4BD0-4C9A-91F1-A4B7B0472C3B}"/>
              </a:ext>
            </a:extLst>
          </p:cNvPr>
          <p:cNvSpPr/>
          <p:nvPr/>
        </p:nvSpPr>
        <p:spPr>
          <a:xfrm>
            <a:off x="4595293" y="1681903"/>
            <a:ext cx="1305137" cy="910217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E6A8CAE-305F-4D10-A262-1D82348001C7}"/>
              </a:ext>
            </a:extLst>
          </p:cNvPr>
          <p:cNvSpPr/>
          <p:nvPr/>
        </p:nvSpPr>
        <p:spPr>
          <a:xfrm>
            <a:off x="3264011" y="1144982"/>
            <a:ext cx="3967700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How should a given real-world Entity be modeled?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005373A-0B0D-480C-8E5F-A8EC16FC2D85}"/>
              </a:ext>
            </a:extLst>
          </p:cNvPr>
          <p:cNvCxnSpPr>
            <a:cxnSpLocks/>
            <a:stCxn id="5" idx="2"/>
            <a:endCxn id="21" idx="0"/>
          </p:cNvCxnSpPr>
          <p:nvPr/>
        </p:nvCxnSpPr>
        <p:spPr>
          <a:xfrm>
            <a:off x="5247862" y="2592120"/>
            <a:ext cx="0" cy="2894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A196DFB6-AB67-48FD-8CFA-9D66816070F8}"/>
              </a:ext>
            </a:extLst>
          </p:cNvPr>
          <p:cNvSpPr/>
          <p:nvPr/>
        </p:nvSpPr>
        <p:spPr>
          <a:xfrm>
            <a:off x="5213396" y="2543890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73E8247-63BD-40CB-B5D7-EB8F76E5402F}"/>
              </a:ext>
            </a:extLst>
          </p:cNvPr>
          <p:cNvSpPr/>
          <p:nvPr/>
        </p:nvSpPr>
        <p:spPr>
          <a:xfrm>
            <a:off x="5955523" y="1875707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C837B73-EA2C-40F1-ADFA-376845ECA2BF}"/>
              </a:ext>
            </a:extLst>
          </p:cNvPr>
          <p:cNvSpPr/>
          <p:nvPr/>
        </p:nvSpPr>
        <p:spPr>
          <a:xfrm>
            <a:off x="6989197" y="1970034"/>
            <a:ext cx="2448999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it as an “atomic” Element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6E05BA9-8DD9-4EE3-BF04-7FEBB4AF1020}"/>
              </a:ext>
            </a:extLst>
          </p:cNvPr>
          <p:cNvCxnSpPr>
            <a:cxnSpLocks/>
            <a:stCxn id="5" idx="3"/>
            <a:endCxn id="16" idx="1"/>
          </p:cNvCxnSpPr>
          <p:nvPr/>
        </p:nvCxnSpPr>
        <p:spPr>
          <a:xfrm>
            <a:off x="5900430" y="2137012"/>
            <a:ext cx="108876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F2A6C2DC-7CA3-445F-8DA4-98036E0C2E1B}"/>
              </a:ext>
            </a:extLst>
          </p:cNvPr>
          <p:cNvSpPr/>
          <p:nvPr/>
        </p:nvSpPr>
        <p:spPr>
          <a:xfrm>
            <a:off x="4727051" y="3036391"/>
            <a:ext cx="1041621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Are they individually identified?</a:t>
            </a:r>
          </a:p>
        </p:txBody>
      </p:sp>
      <p:sp>
        <p:nvSpPr>
          <p:cNvPr id="21" name="Flowchart: Decision 20">
            <a:extLst>
              <a:ext uri="{FF2B5EF4-FFF2-40B4-BE49-F238E27FC236}">
                <a16:creationId xmlns:a16="http://schemas.microsoft.com/office/drawing/2014/main" id="{AB77C767-5740-4523-A57E-998EAFB88BAB}"/>
              </a:ext>
            </a:extLst>
          </p:cNvPr>
          <p:cNvSpPr/>
          <p:nvPr/>
        </p:nvSpPr>
        <p:spPr>
          <a:xfrm>
            <a:off x="4543086" y="2881547"/>
            <a:ext cx="1409551" cy="983036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07A05C5-BC7A-4ECB-95B0-1E1D8624CF96}"/>
              </a:ext>
            </a:extLst>
          </p:cNvPr>
          <p:cNvSpPr/>
          <p:nvPr/>
        </p:nvSpPr>
        <p:spPr>
          <a:xfrm>
            <a:off x="5955523" y="3075351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206934A-1226-4463-ACF4-91FBADCE3B3B}"/>
              </a:ext>
            </a:extLst>
          </p:cNvPr>
          <p:cNvSpPr/>
          <p:nvPr/>
        </p:nvSpPr>
        <p:spPr>
          <a:xfrm>
            <a:off x="6989197" y="3134889"/>
            <a:ext cx="3562183" cy="476352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it an “atomic” Element with parts represented in GeometryStream of the Element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FF7699D-108B-477F-BA0D-E32BAC34518D}"/>
              </a:ext>
            </a:extLst>
          </p:cNvPr>
          <p:cNvCxnSpPr>
            <a:cxnSpLocks/>
            <a:stCxn id="21" idx="3"/>
            <a:endCxn id="24" idx="1"/>
          </p:cNvCxnSpPr>
          <p:nvPr/>
        </p:nvCxnSpPr>
        <p:spPr>
          <a:xfrm>
            <a:off x="5952637" y="3373065"/>
            <a:ext cx="103656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D23C0F1-EC45-4852-9A62-02A43380E911}"/>
              </a:ext>
            </a:extLst>
          </p:cNvPr>
          <p:cNvCxnSpPr>
            <a:cxnSpLocks/>
            <a:stCxn id="8" idx="2"/>
            <a:endCxn id="5" idx="0"/>
          </p:cNvCxnSpPr>
          <p:nvPr/>
        </p:nvCxnSpPr>
        <p:spPr>
          <a:xfrm>
            <a:off x="5247861" y="1478937"/>
            <a:ext cx="1" cy="2029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C88A5E51-B076-4E9D-A00A-903C07D4F5A9}"/>
              </a:ext>
            </a:extLst>
          </p:cNvPr>
          <p:cNvSpPr/>
          <p:nvPr/>
        </p:nvSpPr>
        <p:spPr>
          <a:xfrm>
            <a:off x="5229568" y="3803526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B4E4B37-837C-4F7A-AB5C-02749D9C88A6}"/>
              </a:ext>
            </a:extLst>
          </p:cNvPr>
          <p:cNvCxnSpPr>
            <a:cxnSpLocks/>
            <a:stCxn id="21" idx="2"/>
            <a:endCxn id="41" idx="0"/>
          </p:cNvCxnSpPr>
          <p:nvPr/>
        </p:nvCxnSpPr>
        <p:spPr>
          <a:xfrm flipH="1">
            <a:off x="5247861" y="3864583"/>
            <a:ext cx="1" cy="25850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C40CDBD4-6CFC-4B64-9A3F-FCF7921E911E}"/>
              </a:ext>
            </a:extLst>
          </p:cNvPr>
          <p:cNvGrpSpPr/>
          <p:nvPr/>
        </p:nvGrpSpPr>
        <p:grpSpPr>
          <a:xfrm>
            <a:off x="4386470" y="4123088"/>
            <a:ext cx="1722782" cy="1292415"/>
            <a:chOff x="4386470" y="4122413"/>
            <a:chExt cx="1722782" cy="1292415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C3DE5E2-F7F1-4148-9D36-BA90EE9C585C}"/>
                </a:ext>
              </a:extLst>
            </p:cNvPr>
            <p:cNvSpPr/>
            <p:nvPr/>
          </p:nvSpPr>
          <p:spPr>
            <a:xfrm>
              <a:off x="4472080" y="4496797"/>
              <a:ext cx="1560310" cy="61225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/>
                <a:t>Considered</a:t>
              </a:r>
            </a:p>
            <a:p>
              <a:pPr algn="ctr"/>
              <a:r>
                <a:rPr lang="en-US" sz="1200" u="sng" dirty="0"/>
                <a:t>both</a:t>
              </a:r>
              <a:r>
                <a:rPr lang="en-US" sz="1200" dirty="0"/>
                <a:t> as a whole and also as individual parts?</a:t>
              </a:r>
            </a:p>
          </p:txBody>
        </p:sp>
        <p:sp>
          <p:nvSpPr>
            <p:cNvPr id="41" name="Flowchart: Decision 40">
              <a:extLst>
                <a:ext uri="{FF2B5EF4-FFF2-40B4-BE49-F238E27FC236}">
                  <a16:creationId xmlns:a16="http://schemas.microsoft.com/office/drawing/2014/main" id="{7F02AB72-B3CA-4C54-B34F-F240175CE251}"/>
                </a:ext>
              </a:extLst>
            </p:cNvPr>
            <p:cNvSpPr/>
            <p:nvPr/>
          </p:nvSpPr>
          <p:spPr>
            <a:xfrm>
              <a:off x="4386470" y="4122413"/>
              <a:ext cx="1722782" cy="1292415"/>
            </a:xfrm>
            <a:prstGeom prst="flowChartDecision">
              <a:avLst/>
            </a:prstGeom>
            <a:noFill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dk1"/>
                </a:solidFill>
              </a:endParaRP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EEE57914-3900-437E-9848-0B5C1FAD45CE}"/>
              </a:ext>
            </a:extLst>
          </p:cNvPr>
          <p:cNvSpPr/>
          <p:nvPr/>
        </p:nvSpPr>
        <p:spPr>
          <a:xfrm>
            <a:off x="5955523" y="4433374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E32A249-3E2D-4655-9497-D7385B097797}"/>
              </a:ext>
            </a:extLst>
          </p:cNvPr>
          <p:cNvCxnSpPr>
            <a:cxnSpLocks/>
            <a:stCxn id="41" idx="3"/>
            <a:endCxn id="29" idx="1"/>
          </p:cNvCxnSpPr>
          <p:nvPr/>
        </p:nvCxnSpPr>
        <p:spPr>
          <a:xfrm>
            <a:off x="6109252" y="4769296"/>
            <a:ext cx="70149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EE4E1468-142C-4CA5-8A69-803B74D0F658}"/>
              </a:ext>
            </a:extLst>
          </p:cNvPr>
          <p:cNvSpPr/>
          <p:nvPr/>
        </p:nvSpPr>
        <p:spPr>
          <a:xfrm>
            <a:off x="5247861" y="5300495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01C9FF23-BD1C-450F-B374-F4EF319BEC64}"/>
              </a:ext>
            </a:extLst>
          </p:cNvPr>
          <p:cNvCxnSpPr>
            <a:cxnSpLocks/>
            <a:stCxn id="41" idx="2"/>
            <a:endCxn id="39" idx="0"/>
          </p:cNvCxnSpPr>
          <p:nvPr/>
        </p:nvCxnSpPr>
        <p:spPr>
          <a:xfrm>
            <a:off x="5247861" y="5415503"/>
            <a:ext cx="10317" cy="18081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C210C61-68E5-45E7-921B-2CF58FC66F4B}"/>
              </a:ext>
            </a:extLst>
          </p:cNvPr>
          <p:cNvSpPr/>
          <p:nvPr/>
        </p:nvSpPr>
        <p:spPr>
          <a:xfrm>
            <a:off x="9216388" y="4599136"/>
            <a:ext cx="2154804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parts in a sub-Model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4167E24-40D2-4A73-8F9C-08E3509B2145}"/>
              </a:ext>
            </a:extLst>
          </p:cNvPr>
          <p:cNvSpPr/>
          <p:nvPr/>
        </p:nvSpPr>
        <p:spPr>
          <a:xfrm>
            <a:off x="4206248" y="5596320"/>
            <a:ext cx="2103859" cy="285650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Use parent-child modeling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3003281-3010-47D6-974A-8D0099A0C7A7}"/>
              </a:ext>
            </a:extLst>
          </p:cNvPr>
          <p:cNvGrpSpPr/>
          <p:nvPr/>
        </p:nvGrpSpPr>
        <p:grpSpPr>
          <a:xfrm>
            <a:off x="6810743" y="4123088"/>
            <a:ext cx="1722782" cy="1292415"/>
            <a:chOff x="6801803" y="4156714"/>
            <a:chExt cx="1722782" cy="1292415"/>
          </a:xfrm>
        </p:grpSpPr>
        <p:sp>
          <p:nvSpPr>
            <p:cNvPr id="29" name="Flowchart: Decision 28">
              <a:extLst>
                <a:ext uri="{FF2B5EF4-FFF2-40B4-BE49-F238E27FC236}">
                  <a16:creationId xmlns:a16="http://schemas.microsoft.com/office/drawing/2014/main" id="{7AEA0ADB-C6EB-4FC7-A9EC-18742FF502F1}"/>
                </a:ext>
              </a:extLst>
            </p:cNvPr>
            <p:cNvSpPr/>
            <p:nvPr/>
          </p:nvSpPr>
          <p:spPr>
            <a:xfrm>
              <a:off x="6801803" y="4156714"/>
              <a:ext cx="1722782" cy="1292415"/>
            </a:xfrm>
            <a:prstGeom prst="flowChartDecision">
              <a:avLst/>
            </a:prstGeom>
            <a:noFill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dk1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9B48622-EF68-4E77-98C3-D0B2655BF38E}"/>
                </a:ext>
              </a:extLst>
            </p:cNvPr>
            <p:cNvSpPr/>
            <p:nvPr/>
          </p:nvSpPr>
          <p:spPr>
            <a:xfrm>
              <a:off x="6907394" y="4436747"/>
              <a:ext cx="1560310" cy="61225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/>
                <a:t>Are the parts “always” controlled</a:t>
              </a:r>
            </a:p>
            <a:p>
              <a:pPr algn="ctr"/>
              <a:r>
                <a:rPr lang="en-US" sz="1200" dirty="0"/>
                <a:t>by a single party?</a:t>
              </a: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E0CD4234-C1F7-486C-B5B9-8C0F2DCB7D63}"/>
              </a:ext>
            </a:extLst>
          </p:cNvPr>
          <p:cNvSpPr/>
          <p:nvPr/>
        </p:nvSpPr>
        <p:spPr>
          <a:xfrm>
            <a:off x="8523837" y="4513195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A620ABD-B8E9-4BC6-A47A-C4FA7CCE505B}"/>
              </a:ext>
            </a:extLst>
          </p:cNvPr>
          <p:cNvCxnSpPr>
            <a:cxnSpLocks/>
          </p:cNvCxnSpPr>
          <p:nvPr/>
        </p:nvCxnSpPr>
        <p:spPr>
          <a:xfrm>
            <a:off x="8523837" y="4766114"/>
            <a:ext cx="69255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22D9CEE1-1CA9-4879-93DD-C9052B198D74}"/>
              </a:ext>
            </a:extLst>
          </p:cNvPr>
          <p:cNvSpPr/>
          <p:nvPr/>
        </p:nvSpPr>
        <p:spPr>
          <a:xfrm>
            <a:off x="7669195" y="5300495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2D2642E1-714B-43B9-9FFD-3487820B1573}"/>
              </a:ext>
            </a:extLst>
          </p:cNvPr>
          <p:cNvCxnSpPr>
            <a:cxnSpLocks/>
            <a:stCxn id="29" idx="2"/>
            <a:endCxn id="47" idx="0"/>
          </p:cNvCxnSpPr>
          <p:nvPr/>
        </p:nvCxnSpPr>
        <p:spPr>
          <a:xfrm>
            <a:off x="7672134" y="5415503"/>
            <a:ext cx="1" cy="18081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8CCA0941-B476-474F-AED7-B7E14ADBF28D}"/>
              </a:ext>
            </a:extLst>
          </p:cNvPr>
          <p:cNvSpPr/>
          <p:nvPr/>
        </p:nvSpPr>
        <p:spPr>
          <a:xfrm>
            <a:off x="6512250" y="5596320"/>
            <a:ext cx="2319769" cy="285650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Use “aggregates” relationship</a:t>
            </a:r>
          </a:p>
        </p:txBody>
      </p:sp>
    </p:spTree>
    <p:extLst>
      <p:ext uri="{BB962C8B-B14F-4D97-AF65-F5344CB8AC3E}">
        <p14:creationId xmlns:p14="http://schemas.microsoft.com/office/powerpoint/2010/main" val="2665283029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8FE5B-E840-406C-97BC-1FDED135A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758952"/>
          </a:xfrm>
        </p:spPr>
        <p:txBody>
          <a:bodyPr/>
          <a:lstStyle/>
          <a:p>
            <a:r>
              <a:rPr lang="en-US" dirty="0"/>
              <a:t>3D Modeling Perspectiv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0089572-AAE8-4B41-8EBA-AE1D1BD56B40}"/>
              </a:ext>
            </a:extLst>
          </p:cNvPr>
          <p:cNvSpPr/>
          <p:nvPr/>
        </p:nvSpPr>
        <p:spPr>
          <a:xfrm>
            <a:off x="3064952" y="2983353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Spatial</a:t>
            </a:r>
          </a:p>
          <a:p>
            <a:pPr algn="ctr"/>
            <a:r>
              <a:rPr lang="en-US" sz="1400" dirty="0"/>
              <a:t>(geolocated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CE16E9-7B8D-459C-ADF2-2EC1E4D210FA}"/>
              </a:ext>
            </a:extLst>
          </p:cNvPr>
          <p:cNvSpPr/>
          <p:nvPr/>
        </p:nvSpPr>
        <p:spPr>
          <a:xfrm>
            <a:off x="2290124" y="4171523"/>
            <a:ext cx="3424884" cy="9277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u="sng" dirty="0"/>
              <a:t>Physical</a:t>
            </a:r>
          </a:p>
          <a:p>
            <a:r>
              <a:rPr lang="en-US" sz="1400" dirty="0"/>
              <a:t>(has mass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978B5C-44DB-4EBC-9531-CCC2A986611B}"/>
              </a:ext>
            </a:extLst>
          </p:cNvPr>
          <p:cNvSpPr/>
          <p:nvPr/>
        </p:nvSpPr>
        <p:spPr>
          <a:xfrm>
            <a:off x="3500083" y="4251713"/>
            <a:ext cx="2133600" cy="758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u="sng" dirty="0" err="1"/>
              <a:t>SpatialLocation</a:t>
            </a:r>
            <a:endParaRPr lang="en-US" u="sng" dirty="0"/>
          </a:p>
          <a:p>
            <a:pPr algn="ctr"/>
            <a:r>
              <a:rPr lang="en-US" sz="1400" dirty="0"/>
              <a:t>(massless, makes sense in physical context)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7B0BF737-5A2F-4F16-8F5C-417E68943F09}"/>
              </a:ext>
            </a:extLst>
          </p:cNvPr>
          <p:cNvCxnSpPr>
            <a:cxnSpLocks/>
          </p:cNvCxnSpPr>
          <p:nvPr/>
        </p:nvCxnSpPr>
        <p:spPr>
          <a:xfrm flipV="1">
            <a:off x="4131752" y="3713205"/>
            <a:ext cx="0" cy="269253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87A282D-689C-4FAB-B7B3-E819B0A2AEE3}"/>
              </a:ext>
            </a:extLst>
          </p:cNvPr>
          <p:cNvCxnSpPr>
            <a:cxnSpLocks/>
          </p:cNvCxnSpPr>
          <p:nvPr/>
        </p:nvCxnSpPr>
        <p:spPr>
          <a:xfrm>
            <a:off x="2912323" y="3982458"/>
            <a:ext cx="0" cy="189065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F4F5F3F-8F89-417E-ADDF-09B29F7BD291}"/>
              </a:ext>
            </a:extLst>
          </p:cNvPr>
          <p:cNvCxnSpPr>
            <a:cxnSpLocks/>
          </p:cNvCxnSpPr>
          <p:nvPr/>
        </p:nvCxnSpPr>
        <p:spPr>
          <a:xfrm flipV="1">
            <a:off x="2897547" y="3995781"/>
            <a:ext cx="2468410" cy="1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0C947D5-B965-4566-A85B-226B10A1185D}"/>
              </a:ext>
            </a:extLst>
          </p:cNvPr>
          <p:cNvCxnSpPr>
            <a:cxnSpLocks/>
          </p:cNvCxnSpPr>
          <p:nvPr/>
        </p:nvCxnSpPr>
        <p:spPr>
          <a:xfrm>
            <a:off x="5365957" y="398245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A603F97-FDD3-4540-8A70-3E0053F74227}"/>
              </a:ext>
            </a:extLst>
          </p:cNvPr>
          <p:cNvCxnSpPr>
            <a:cxnSpLocks/>
          </p:cNvCxnSpPr>
          <p:nvPr/>
        </p:nvCxnSpPr>
        <p:spPr>
          <a:xfrm>
            <a:off x="7046051" y="279720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80D37907-D02F-4AFE-B307-9CB552462108}"/>
              </a:ext>
            </a:extLst>
          </p:cNvPr>
          <p:cNvSpPr/>
          <p:nvPr/>
        </p:nvSpPr>
        <p:spPr>
          <a:xfrm>
            <a:off x="5979251" y="4215174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u="sng" dirty="0" err="1"/>
              <a:t>StructuralAnalysis</a:t>
            </a:r>
            <a:endParaRPr lang="en-US" u="sng" dirty="0"/>
          </a:p>
          <a:p>
            <a:pPr algn="ctr"/>
            <a:r>
              <a:rPr lang="en-US" sz="1400" dirty="0"/>
              <a:t>(Simplified geometric model of structures)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B764D488-04AD-4E2D-AAB0-0D77774A8234}"/>
              </a:ext>
            </a:extLst>
          </p:cNvPr>
          <p:cNvCxnSpPr>
            <a:cxnSpLocks/>
          </p:cNvCxnSpPr>
          <p:nvPr/>
        </p:nvCxnSpPr>
        <p:spPr>
          <a:xfrm flipV="1">
            <a:off x="7046051" y="3808476"/>
            <a:ext cx="0" cy="406698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667215A-FD70-42ED-8645-87CCEADEE4D6}"/>
              </a:ext>
            </a:extLst>
          </p:cNvPr>
          <p:cNvSpPr/>
          <p:nvPr/>
        </p:nvSpPr>
        <p:spPr>
          <a:xfrm>
            <a:off x="5979251" y="3049524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Analytical</a:t>
            </a:r>
          </a:p>
          <a:p>
            <a:pPr algn="ctr"/>
            <a:r>
              <a:rPr lang="en-US" sz="1400" dirty="0"/>
              <a:t>(simplified geometric abstraction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0CA941-671C-486B-BCAC-A188053D8749}"/>
              </a:ext>
            </a:extLst>
          </p:cNvPr>
          <p:cNvSpPr/>
          <p:nvPr/>
        </p:nvSpPr>
        <p:spPr>
          <a:xfrm>
            <a:off x="5979251" y="1788633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Geometric3d</a:t>
            </a:r>
          </a:p>
          <a:p>
            <a:pPr algn="ctr"/>
            <a:r>
              <a:rPr lang="en-US" sz="1400" dirty="0"/>
              <a:t>(cartesian)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B28675C-13C8-45F7-BEDD-59BBF307B5EB}"/>
              </a:ext>
            </a:extLst>
          </p:cNvPr>
          <p:cNvCxnSpPr>
            <a:cxnSpLocks/>
          </p:cNvCxnSpPr>
          <p:nvPr/>
        </p:nvCxnSpPr>
        <p:spPr>
          <a:xfrm flipV="1">
            <a:off x="7046051" y="2528444"/>
            <a:ext cx="0" cy="269253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A1A5AB9-85B0-48C3-A924-40D093B5083A}"/>
              </a:ext>
            </a:extLst>
          </p:cNvPr>
          <p:cNvCxnSpPr>
            <a:cxnSpLocks/>
          </p:cNvCxnSpPr>
          <p:nvPr/>
        </p:nvCxnSpPr>
        <p:spPr>
          <a:xfrm>
            <a:off x="4131752" y="2797697"/>
            <a:ext cx="0" cy="189065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51B9C6A-CCF7-4930-9C64-81D15CD8A6EA}"/>
              </a:ext>
            </a:extLst>
          </p:cNvPr>
          <p:cNvCxnSpPr>
            <a:cxnSpLocks/>
          </p:cNvCxnSpPr>
          <p:nvPr/>
        </p:nvCxnSpPr>
        <p:spPr>
          <a:xfrm>
            <a:off x="4114800" y="2803518"/>
            <a:ext cx="5493544" cy="0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C99EE49-56E1-4369-93AE-BD357E717D31}"/>
              </a:ext>
            </a:extLst>
          </p:cNvPr>
          <p:cNvCxnSpPr>
            <a:cxnSpLocks/>
          </p:cNvCxnSpPr>
          <p:nvPr/>
        </p:nvCxnSpPr>
        <p:spPr>
          <a:xfrm>
            <a:off x="9590146" y="279720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573CC599-AE33-4928-AE15-61834A32B881}"/>
              </a:ext>
            </a:extLst>
          </p:cNvPr>
          <p:cNvSpPr/>
          <p:nvPr/>
        </p:nvSpPr>
        <p:spPr>
          <a:xfrm>
            <a:off x="8429914" y="3049524"/>
            <a:ext cx="2320464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GraphicalElement3d</a:t>
            </a:r>
          </a:p>
          <a:p>
            <a:pPr algn="ctr"/>
            <a:r>
              <a:rPr lang="en-US" sz="1400" dirty="0"/>
              <a:t>(visual depiction of data)</a:t>
            </a:r>
          </a:p>
        </p:txBody>
      </p:sp>
    </p:spTree>
    <p:extLst>
      <p:ext uri="{BB962C8B-B14F-4D97-AF65-F5344CB8AC3E}">
        <p14:creationId xmlns:p14="http://schemas.microsoft.com/office/powerpoint/2010/main" val="203429627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8FE5B-E840-406C-97BC-1FDED135A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758952"/>
          </a:xfrm>
        </p:spPr>
        <p:txBody>
          <a:bodyPr/>
          <a:lstStyle/>
          <a:p>
            <a:r>
              <a:rPr lang="en-US" dirty="0"/>
              <a:t>3D Modeling Perspectiv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0089572-AAE8-4B41-8EBA-AE1D1BD56B40}"/>
              </a:ext>
            </a:extLst>
          </p:cNvPr>
          <p:cNvSpPr/>
          <p:nvPr/>
        </p:nvSpPr>
        <p:spPr>
          <a:xfrm>
            <a:off x="3023287" y="2983353"/>
            <a:ext cx="2217317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Spatial</a:t>
            </a:r>
          </a:p>
          <a:p>
            <a:pPr algn="ctr"/>
            <a:r>
              <a:rPr lang="en-US" sz="1400" dirty="0"/>
              <a:t>(always spatially located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CE16E9-7B8D-459C-ADF2-2EC1E4D210FA}"/>
              </a:ext>
            </a:extLst>
          </p:cNvPr>
          <p:cNvSpPr/>
          <p:nvPr/>
        </p:nvSpPr>
        <p:spPr>
          <a:xfrm>
            <a:off x="2290124" y="4171523"/>
            <a:ext cx="3424884" cy="9277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u="sng" dirty="0"/>
              <a:t>Physical</a:t>
            </a:r>
          </a:p>
          <a:p>
            <a:r>
              <a:rPr lang="en-US" sz="1400" dirty="0"/>
              <a:t>(has mass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978B5C-44DB-4EBC-9531-CCC2A986611B}"/>
              </a:ext>
            </a:extLst>
          </p:cNvPr>
          <p:cNvSpPr/>
          <p:nvPr/>
        </p:nvSpPr>
        <p:spPr>
          <a:xfrm>
            <a:off x="3500083" y="4251713"/>
            <a:ext cx="2133600" cy="758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u="sng" dirty="0" err="1"/>
              <a:t>SpatialLocation</a:t>
            </a:r>
            <a:endParaRPr lang="en-US" u="sng" dirty="0"/>
          </a:p>
          <a:p>
            <a:pPr algn="ctr"/>
            <a:r>
              <a:rPr lang="en-US" sz="1400" dirty="0"/>
              <a:t>(massless, makes sense in physical context)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7B0BF737-5A2F-4F16-8F5C-417E68943F09}"/>
              </a:ext>
            </a:extLst>
          </p:cNvPr>
          <p:cNvCxnSpPr>
            <a:cxnSpLocks/>
          </p:cNvCxnSpPr>
          <p:nvPr/>
        </p:nvCxnSpPr>
        <p:spPr>
          <a:xfrm flipV="1">
            <a:off x="4131752" y="3713205"/>
            <a:ext cx="0" cy="269253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87A282D-689C-4FAB-B7B3-E819B0A2AEE3}"/>
              </a:ext>
            </a:extLst>
          </p:cNvPr>
          <p:cNvCxnSpPr>
            <a:cxnSpLocks/>
          </p:cNvCxnSpPr>
          <p:nvPr/>
        </p:nvCxnSpPr>
        <p:spPr>
          <a:xfrm>
            <a:off x="2912323" y="3982458"/>
            <a:ext cx="0" cy="189065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F4F5F3F-8F89-417E-ADDF-09B29F7BD291}"/>
              </a:ext>
            </a:extLst>
          </p:cNvPr>
          <p:cNvCxnSpPr>
            <a:cxnSpLocks/>
          </p:cNvCxnSpPr>
          <p:nvPr/>
        </p:nvCxnSpPr>
        <p:spPr>
          <a:xfrm flipV="1">
            <a:off x="2897547" y="3995781"/>
            <a:ext cx="2468410" cy="1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0C947D5-B965-4566-A85B-226B10A1185D}"/>
              </a:ext>
            </a:extLst>
          </p:cNvPr>
          <p:cNvCxnSpPr>
            <a:cxnSpLocks/>
          </p:cNvCxnSpPr>
          <p:nvPr/>
        </p:nvCxnSpPr>
        <p:spPr>
          <a:xfrm>
            <a:off x="5365957" y="398245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A603F97-FDD3-4540-8A70-3E0053F74227}"/>
              </a:ext>
            </a:extLst>
          </p:cNvPr>
          <p:cNvCxnSpPr>
            <a:cxnSpLocks/>
          </p:cNvCxnSpPr>
          <p:nvPr/>
        </p:nvCxnSpPr>
        <p:spPr>
          <a:xfrm>
            <a:off x="7046051" y="279720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80D37907-D02F-4AFE-B307-9CB552462108}"/>
              </a:ext>
            </a:extLst>
          </p:cNvPr>
          <p:cNvSpPr/>
          <p:nvPr/>
        </p:nvSpPr>
        <p:spPr>
          <a:xfrm>
            <a:off x="5979251" y="4215174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u="sng" dirty="0" err="1"/>
              <a:t>StructuralAnalysis</a:t>
            </a:r>
            <a:endParaRPr lang="en-US" u="sng" dirty="0"/>
          </a:p>
          <a:p>
            <a:pPr algn="ctr"/>
            <a:r>
              <a:rPr lang="en-US" sz="1400" dirty="0"/>
              <a:t>(Simplified geometric model of structures)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B764D488-04AD-4E2D-AAB0-0D77774A8234}"/>
              </a:ext>
            </a:extLst>
          </p:cNvPr>
          <p:cNvCxnSpPr>
            <a:cxnSpLocks/>
          </p:cNvCxnSpPr>
          <p:nvPr/>
        </p:nvCxnSpPr>
        <p:spPr>
          <a:xfrm flipV="1">
            <a:off x="7046051" y="3808476"/>
            <a:ext cx="0" cy="406698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667215A-FD70-42ED-8645-87CCEADEE4D6}"/>
              </a:ext>
            </a:extLst>
          </p:cNvPr>
          <p:cNvSpPr/>
          <p:nvPr/>
        </p:nvSpPr>
        <p:spPr>
          <a:xfrm>
            <a:off x="5979251" y="3049524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Analytical</a:t>
            </a:r>
          </a:p>
          <a:p>
            <a:pPr algn="ctr"/>
            <a:r>
              <a:rPr lang="en-US" sz="1400" dirty="0"/>
              <a:t>(simplified geometric abstraction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0CA941-671C-486B-BCAC-A188053D8749}"/>
              </a:ext>
            </a:extLst>
          </p:cNvPr>
          <p:cNvSpPr/>
          <p:nvPr/>
        </p:nvSpPr>
        <p:spPr>
          <a:xfrm>
            <a:off x="5979251" y="1788633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Geometric3d</a:t>
            </a:r>
          </a:p>
          <a:p>
            <a:pPr algn="ctr"/>
            <a:r>
              <a:rPr lang="en-US" sz="1400" dirty="0"/>
              <a:t>(cartesian, </a:t>
            </a:r>
          </a:p>
          <a:p>
            <a:pPr algn="ctr"/>
            <a:r>
              <a:rPr lang="en-US" sz="1400" dirty="0"/>
              <a:t>spatially locatable)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B28675C-13C8-45F7-BEDD-59BBF307B5EB}"/>
              </a:ext>
            </a:extLst>
          </p:cNvPr>
          <p:cNvCxnSpPr>
            <a:cxnSpLocks/>
          </p:cNvCxnSpPr>
          <p:nvPr/>
        </p:nvCxnSpPr>
        <p:spPr>
          <a:xfrm flipV="1">
            <a:off x="7046051" y="2528444"/>
            <a:ext cx="0" cy="269253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A1A5AB9-85B0-48C3-A924-40D093B5083A}"/>
              </a:ext>
            </a:extLst>
          </p:cNvPr>
          <p:cNvCxnSpPr>
            <a:cxnSpLocks/>
          </p:cNvCxnSpPr>
          <p:nvPr/>
        </p:nvCxnSpPr>
        <p:spPr>
          <a:xfrm>
            <a:off x="4131752" y="2797697"/>
            <a:ext cx="0" cy="189065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51B9C6A-CCF7-4930-9C64-81D15CD8A6EA}"/>
              </a:ext>
            </a:extLst>
          </p:cNvPr>
          <p:cNvCxnSpPr>
            <a:cxnSpLocks/>
          </p:cNvCxnSpPr>
          <p:nvPr/>
        </p:nvCxnSpPr>
        <p:spPr>
          <a:xfrm>
            <a:off x="4114800" y="2803518"/>
            <a:ext cx="5493544" cy="0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C99EE49-56E1-4369-93AE-BD357E717D31}"/>
              </a:ext>
            </a:extLst>
          </p:cNvPr>
          <p:cNvCxnSpPr>
            <a:cxnSpLocks/>
          </p:cNvCxnSpPr>
          <p:nvPr/>
        </p:nvCxnSpPr>
        <p:spPr>
          <a:xfrm>
            <a:off x="9590146" y="279720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573CC599-AE33-4928-AE15-61834A32B881}"/>
              </a:ext>
            </a:extLst>
          </p:cNvPr>
          <p:cNvSpPr/>
          <p:nvPr/>
        </p:nvSpPr>
        <p:spPr>
          <a:xfrm>
            <a:off x="8429914" y="3049524"/>
            <a:ext cx="2320464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u="sng" dirty="0"/>
              <a:t>GraphicalElement3d</a:t>
            </a:r>
          </a:p>
          <a:p>
            <a:pPr algn="ctr"/>
            <a:r>
              <a:rPr lang="en-US" sz="1400" dirty="0"/>
              <a:t>(visual depiction of data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46BED5-F9C6-4012-8D72-1047DECBFC90}"/>
              </a:ext>
            </a:extLst>
          </p:cNvPr>
          <p:cNvSpPr/>
          <p:nvPr/>
        </p:nvSpPr>
        <p:spPr>
          <a:xfrm>
            <a:off x="8280256" y="4011825"/>
            <a:ext cx="2581737" cy="92774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400" b="1" dirty="0"/>
              <a:t>Legend:</a:t>
            </a:r>
          </a:p>
          <a:p>
            <a:r>
              <a:rPr lang="en-US" sz="1400" dirty="0"/>
              <a:t>Normal</a:t>
            </a:r>
            <a:r>
              <a:rPr lang="en-US" sz="1400" i="1" dirty="0"/>
              <a:t> – </a:t>
            </a:r>
            <a:r>
              <a:rPr lang="en-US" sz="1400" dirty="0"/>
              <a:t>Model is concrete</a:t>
            </a:r>
          </a:p>
          <a:p>
            <a:r>
              <a:rPr lang="en-US" sz="1400" i="1" dirty="0"/>
              <a:t>Italics – </a:t>
            </a:r>
            <a:r>
              <a:rPr lang="en-US" sz="1400" dirty="0"/>
              <a:t>Model is abstract</a:t>
            </a:r>
          </a:p>
          <a:p>
            <a:r>
              <a:rPr lang="en-US" sz="1400" u="sng" dirty="0"/>
              <a:t>Underline</a:t>
            </a:r>
            <a:r>
              <a:rPr lang="en-US" sz="1400" i="1" dirty="0"/>
              <a:t> – </a:t>
            </a:r>
            <a:r>
              <a:rPr lang="en-US" sz="1400" dirty="0"/>
              <a:t>Model is sealed</a:t>
            </a:r>
          </a:p>
        </p:txBody>
      </p:sp>
    </p:spTree>
    <p:extLst>
      <p:ext uri="{BB962C8B-B14F-4D97-AF65-F5344CB8AC3E}">
        <p14:creationId xmlns:p14="http://schemas.microsoft.com/office/powerpoint/2010/main" val="2238324350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8FE5B-E840-406C-97BC-1FDED135A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758952"/>
          </a:xfrm>
        </p:spPr>
        <p:txBody>
          <a:bodyPr/>
          <a:lstStyle/>
          <a:p>
            <a:r>
              <a:rPr lang="en-US" dirty="0"/>
              <a:t>3D Modeling Perspectiv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0089572-AAE8-4B41-8EBA-AE1D1BD56B40}"/>
              </a:ext>
            </a:extLst>
          </p:cNvPr>
          <p:cNvSpPr/>
          <p:nvPr/>
        </p:nvSpPr>
        <p:spPr>
          <a:xfrm>
            <a:off x="4127638" y="2983353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Spatial</a:t>
            </a:r>
          </a:p>
          <a:p>
            <a:pPr algn="ctr"/>
            <a:r>
              <a:rPr lang="en-US" sz="1400" dirty="0"/>
              <a:t>(in real space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CE16E9-7B8D-459C-ADF2-2EC1E4D210FA}"/>
              </a:ext>
            </a:extLst>
          </p:cNvPr>
          <p:cNvSpPr/>
          <p:nvPr/>
        </p:nvSpPr>
        <p:spPr>
          <a:xfrm>
            <a:off x="3352810" y="4171523"/>
            <a:ext cx="3424884" cy="9277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u="sng" dirty="0"/>
              <a:t>Physical</a:t>
            </a:r>
          </a:p>
          <a:p>
            <a:r>
              <a:rPr lang="en-US" sz="1400" dirty="0"/>
              <a:t>(has mass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978B5C-44DB-4EBC-9531-CCC2A986611B}"/>
              </a:ext>
            </a:extLst>
          </p:cNvPr>
          <p:cNvSpPr/>
          <p:nvPr/>
        </p:nvSpPr>
        <p:spPr>
          <a:xfrm>
            <a:off x="4562769" y="4251713"/>
            <a:ext cx="2133600" cy="758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u="sng" dirty="0" err="1"/>
              <a:t>SpatialLocation</a:t>
            </a:r>
            <a:endParaRPr lang="en-US" u="sng" dirty="0"/>
          </a:p>
          <a:p>
            <a:pPr algn="ctr"/>
            <a:r>
              <a:rPr lang="en-US" sz="1400" dirty="0"/>
              <a:t>(massless, makes sense in physical context)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7B0BF737-5A2F-4F16-8F5C-417E68943F09}"/>
              </a:ext>
            </a:extLst>
          </p:cNvPr>
          <p:cNvCxnSpPr>
            <a:cxnSpLocks/>
          </p:cNvCxnSpPr>
          <p:nvPr/>
        </p:nvCxnSpPr>
        <p:spPr>
          <a:xfrm flipV="1">
            <a:off x="5194438" y="3713205"/>
            <a:ext cx="0" cy="269253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87A282D-689C-4FAB-B7B3-E819B0A2AEE3}"/>
              </a:ext>
            </a:extLst>
          </p:cNvPr>
          <p:cNvCxnSpPr>
            <a:cxnSpLocks/>
          </p:cNvCxnSpPr>
          <p:nvPr/>
        </p:nvCxnSpPr>
        <p:spPr>
          <a:xfrm>
            <a:off x="3975009" y="3982458"/>
            <a:ext cx="0" cy="189065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F4F5F3F-8F89-417E-ADDF-09B29F7BD291}"/>
              </a:ext>
            </a:extLst>
          </p:cNvPr>
          <p:cNvCxnSpPr>
            <a:cxnSpLocks/>
          </p:cNvCxnSpPr>
          <p:nvPr/>
        </p:nvCxnSpPr>
        <p:spPr>
          <a:xfrm flipV="1">
            <a:off x="3960233" y="3995781"/>
            <a:ext cx="2468410" cy="1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0C947D5-B965-4566-A85B-226B10A1185D}"/>
              </a:ext>
            </a:extLst>
          </p:cNvPr>
          <p:cNvCxnSpPr>
            <a:cxnSpLocks/>
          </p:cNvCxnSpPr>
          <p:nvPr/>
        </p:nvCxnSpPr>
        <p:spPr>
          <a:xfrm>
            <a:off x="6428643" y="398245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A603F97-FDD3-4540-8A70-3E0053F74227}"/>
              </a:ext>
            </a:extLst>
          </p:cNvPr>
          <p:cNvCxnSpPr>
            <a:cxnSpLocks/>
          </p:cNvCxnSpPr>
          <p:nvPr/>
        </p:nvCxnSpPr>
        <p:spPr>
          <a:xfrm>
            <a:off x="8108737" y="279720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80D37907-D02F-4AFE-B307-9CB552462108}"/>
              </a:ext>
            </a:extLst>
          </p:cNvPr>
          <p:cNvSpPr/>
          <p:nvPr/>
        </p:nvSpPr>
        <p:spPr>
          <a:xfrm>
            <a:off x="7041937" y="4215174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u="sng" dirty="0" err="1"/>
              <a:t>StructuralAnalysis</a:t>
            </a:r>
            <a:endParaRPr lang="en-US" u="sng" dirty="0"/>
          </a:p>
          <a:p>
            <a:pPr algn="ctr"/>
            <a:r>
              <a:rPr lang="en-US" sz="1400" dirty="0"/>
              <a:t>(Simplified geometric model of structures)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B764D488-04AD-4E2D-AAB0-0D77774A8234}"/>
              </a:ext>
            </a:extLst>
          </p:cNvPr>
          <p:cNvCxnSpPr>
            <a:cxnSpLocks/>
          </p:cNvCxnSpPr>
          <p:nvPr/>
        </p:nvCxnSpPr>
        <p:spPr>
          <a:xfrm flipV="1">
            <a:off x="8108737" y="3808476"/>
            <a:ext cx="0" cy="406698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667215A-FD70-42ED-8645-87CCEADEE4D6}"/>
              </a:ext>
            </a:extLst>
          </p:cNvPr>
          <p:cNvSpPr/>
          <p:nvPr/>
        </p:nvSpPr>
        <p:spPr>
          <a:xfrm>
            <a:off x="7041937" y="3049524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Analytical</a:t>
            </a:r>
          </a:p>
          <a:p>
            <a:pPr algn="ctr"/>
            <a:r>
              <a:rPr lang="en-US" sz="1400" dirty="0"/>
              <a:t>(simplified geometric abstraction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0CA941-671C-486B-BCAC-A188053D8749}"/>
              </a:ext>
            </a:extLst>
          </p:cNvPr>
          <p:cNvSpPr/>
          <p:nvPr/>
        </p:nvSpPr>
        <p:spPr>
          <a:xfrm>
            <a:off x="7041937" y="1788633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Geometric3d</a:t>
            </a:r>
          </a:p>
          <a:p>
            <a:pPr algn="ctr"/>
            <a:r>
              <a:rPr lang="en-US" sz="1400" dirty="0"/>
              <a:t>(cartesian, </a:t>
            </a:r>
            <a:r>
              <a:rPr lang="en-US" sz="1400" dirty="0" err="1"/>
              <a:t>geolocateable</a:t>
            </a:r>
            <a:r>
              <a:rPr lang="en-US" sz="1400" dirty="0"/>
              <a:t>)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B28675C-13C8-45F7-BEDD-59BBF307B5EB}"/>
              </a:ext>
            </a:extLst>
          </p:cNvPr>
          <p:cNvCxnSpPr>
            <a:cxnSpLocks/>
          </p:cNvCxnSpPr>
          <p:nvPr/>
        </p:nvCxnSpPr>
        <p:spPr>
          <a:xfrm flipV="1">
            <a:off x="8108737" y="2528444"/>
            <a:ext cx="0" cy="269253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A1A5AB9-85B0-48C3-A924-40D093B5083A}"/>
              </a:ext>
            </a:extLst>
          </p:cNvPr>
          <p:cNvCxnSpPr>
            <a:cxnSpLocks/>
          </p:cNvCxnSpPr>
          <p:nvPr/>
        </p:nvCxnSpPr>
        <p:spPr>
          <a:xfrm>
            <a:off x="5194438" y="2797697"/>
            <a:ext cx="0" cy="189065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51B9C6A-CCF7-4930-9C64-81D15CD8A6EA}"/>
              </a:ext>
            </a:extLst>
          </p:cNvPr>
          <p:cNvCxnSpPr>
            <a:cxnSpLocks/>
          </p:cNvCxnSpPr>
          <p:nvPr/>
        </p:nvCxnSpPr>
        <p:spPr>
          <a:xfrm>
            <a:off x="5177486" y="2803518"/>
            <a:ext cx="5493544" cy="0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C99EE49-56E1-4369-93AE-BD357E717D31}"/>
              </a:ext>
            </a:extLst>
          </p:cNvPr>
          <p:cNvCxnSpPr>
            <a:cxnSpLocks/>
          </p:cNvCxnSpPr>
          <p:nvPr/>
        </p:nvCxnSpPr>
        <p:spPr>
          <a:xfrm>
            <a:off x="10652832" y="279720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573CC599-AE33-4928-AE15-61834A32B881}"/>
              </a:ext>
            </a:extLst>
          </p:cNvPr>
          <p:cNvSpPr/>
          <p:nvPr/>
        </p:nvSpPr>
        <p:spPr>
          <a:xfrm>
            <a:off x="9492600" y="3049524"/>
            <a:ext cx="2320464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GraphicalElement3d</a:t>
            </a:r>
          </a:p>
          <a:p>
            <a:pPr algn="ctr"/>
            <a:r>
              <a:rPr lang="en-US" sz="1400" dirty="0"/>
              <a:t>(visual depiction of data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982F54A-A3E3-4329-9424-2A1AA855A789}"/>
              </a:ext>
            </a:extLst>
          </p:cNvPr>
          <p:cNvSpPr/>
          <p:nvPr/>
        </p:nvSpPr>
        <p:spPr>
          <a:xfrm>
            <a:off x="1178011" y="4215174"/>
            <a:ext cx="2093474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 err="1"/>
              <a:t>ProjectedLocation</a:t>
            </a:r>
            <a:endParaRPr lang="en-US" i="1" dirty="0"/>
          </a:p>
          <a:p>
            <a:pPr algn="ctr"/>
            <a:r>
              <a:rPr lang="en-US" sz="1400" dirty="0"/>
              <a:t>(in real space)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6E5D1878-22BA-438F-A1A1-C444A834C9F9}"/>
              </a:ext>
            </a:extLst>
          </p:cNvPr>
          <p:cNvCxnSpPr>
            <a:cxnSpLocks/>
            <a:endCxn id="20" idx="0"/>
          </p:cNvCxnSpPr>
          <p:nvPr/>
        </p:nvCxnSpPr>
        <p:spPr>
          <a:xfrm flipH="1">
            <a:off x="2224748" y="3982458"/>
            <a:ext cx="828" cy="232716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B70ECD2-FC56-4BD9-82CE-1B35BC1D37C4}"/>
              </a:ext>
            </a:extLst>
          </p:cNvPr>
          <p:cNvCxnSpPr>
            <a:cxnSpLocks/>
          </p:cNvCxnSpPr>
          <p:nvPr/>
        </p:nvCxnSpPr>
        <p:spPr>
          <a:xfrm flipV="1">
            <a:off x="2210800" y="3995781"/>
            <a:ext cx="2468410" cy="1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11" name="Multiplication Sign 10">
            <a:extLst>
              <a:ext uri="{FF2B5EF4-FFF2-40B4-BE49-F238E27FC236}">
                <a16:creationId xmlns:a16="http://schemas.microsoft.com/office/drawing/2014/main" id="{5AFFD2D9-AE51-4594-A1C2-4E0B79A7C8CC}"/>
              </a:ext>
            </a:extLst>
          </p:cNvPr>
          <p:cNvSpPr/>
          <p:nvPr/>
        </p:nvSpPr>
        <p:spPr>
          <a:xfrm>
            <a:off x="-2993478" y="1608434"/>
            <a:ext cx="11442357" cy="5972432"/>
          </a:xfrm>
          <a:prstGeom prst="mathMultiply">
            <a:avLst>
              <a:gd name="adj1" fmla="val 8899"/>
            </a:avLst>
          </a:prstGeom>
          <a:solidFill>
            <a:srgbClr val="C00000">
              <a:alpha val="36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889780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8FE5B-E840-406C-97BC-1FDED135A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758952"/>
          </a:xfrm>
        </p:spPr>
        <p:txBody>
          <a:bodyPr/>
          <a:lstStyle/>
          <a:p>
            <a:r>
              <a:rPr lang="en-US" dirty="0"/>
              <a:t>3D Modeling Perspectiv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0089572-AAE8-4B41-8EBA-AE1D1BD56B40}"/>
              </a:ext>
            </a:extLst>
          </p:cNvPr>
          <p:cNvSpPr/>
          <p:nvPr/>
        </p:nvSpPr>
        <p:spPr>
          <a:xfrm>
            <a:off x="1977569" y="2983353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Spatial</a:t>
            </a:r>
          </a:p>
          <a:p>
            <a:pPr algn="ctr"/>
            <a:r>
              <a:rPr lang="en-US" sz="1400" dirty="0"/>
              <a:t>(in real space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CE16E9-7B8D-459C-ADF2-2EC1E4D210FA}"/>
              </a:ext>
            </a:extLst>
          </p:cNvPr>
          <p:cNvSpPr/>
          <p:nvPr/>
        </p:nvSpPr>
        <p:spPr>
          <a:xfrm>
            <a:off x="1202741" y="4171523"/>
            <a:ext cx="3424884" cy="9277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u="sng" dirty="0"/>
              <a:t>Physical</a:t>
            </a:r>
          </a:p>
          <a:p>
            <a:r>
              <a:rPr lang="en-US" sz="1400" dirty="0"/>
              <a:t>(has mass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978B5C-44DB-4EBC-9531-CCC2A986611B}"/>
              </a:ext>
            </a:extLst>
          </p:cNvPr>
          <p:cNvSpPr/>
          <p:nvPr/>
        </p:nvSpPr>
        <p:spPr>
          <a:xfrm>
            <a:off x="2412700" y="4251713"/>
            <a:ext cx="2133600" cy="758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u="sng" dirty="0" err="1"/>
              <a:t>SpatialLocation</a:t>
            </a:r>
            <a:endParaRPr lang="en-US" u="sng" dirty="0"/>
          </a:p>
          <a:p>
            <a:pPr algn="ctr"/>
            <a:r>
              <a:rPr lang="en-US" sz="1400" dirty="0"/>
              <a:t>(massless, makes sense in physical context)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7B0BF737-5A2F-4F16-8F5C-417E68943F09}"/>
              </a:ext>
            </a:extLst>
          </p:cNvPr>
          <p:cNvCxnSpPr>
            <a:cxnSpLocks/>
          </p:cNvCxnSpPr>
          <p:nvPr/>
        </p:nvCxnSpPr>
        <p:spPr>
          <a:xfrm flipV="1">
            <a:off x="3044369" y="3713205"/>
            <a:ext cx="0" cy="269253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87A282D-689C-4FAB-B7B3-E819B0A2AEE3}"/>
              </a:ext>
            </a:extLst>
          </p:cNvPr>
          <p:cNvCxnSpPr>
            <a:cxnSpLocks/>
          </p:cNvCxnSpPr>
          <p:nvPr/>
        </p:nvCxnSpPr>
        <p:spPr>
          <a:xfrm>
            <a:off x="1824940" y="3982458"/>
            <a:ext cx="0" cy="189065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F4F5F3F-8F89-417E-ADDF-09B29F7BD291}"/>
              </a:ext>
            </a:extLst>
          </p:cNvPr>
          <p:cNvCxnSpPr>
            <a:cxnSpLocks/>
          </p:cNvCxnSpPr>
          <p:nvPr/>
        </p:nvCxnSpPr>
        <p:spPr>
          <a:xfrm flipV="1">
            <a:off x="1810164" y="3995781"/>
            <a:ext cx="2468410" cy="1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0C947D5-B965-4566-A85B-226B10A1185D}"/>
              </a:ext>
            </a:extLst>
          </p:cNvPr>
          <p:cNvCxnSpPr>
            <a:cxnSpLocks/>
          </p:cNvCxnSpPr>
          <p:nvPr/>
        </p:nvCxnSpPr>
        <p:spPr>
          <a:xfrm>
            <a:off x="4278574" y="398245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A603F97-FDD3-4540-8A70-3E0053F74227}"/>
              </a:ext>
            </a:extLst>
          </p:cNvPr>
          <p:cNvCxnSpPr>
            <a:cxnSpLocks/>
          </p:cNvCxnSpPr>
          <p:nvPr/>
        </p:nvCxnSpPr>
        <p:spPr>
          <a:xfrm>
            <a:off x="8108737" y="279720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80D37907-D02F-4AFE-B307-9CB552462108}"/>
              </a:ext>
            </a:extLst>
          </p:cNvPr>
          <p:cNvSpPr/>
          <p:nvPr/>
        </p:nvSpPr>
        <p:spPr>
          <a:xfrm>
            <a:off x="7041937" y="4215174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u="sng" dirty="0" err="1"/>
              <a:t>StructuralAnalysis</a:t>
            </a:r>
            <a:endParaRPr lang="en-US" u="sng" dirty="0"/>
          </a:p>
          <a:p>
            <a:pPr algn="ctr"/>
            <a:r>
              <a:rPr lang="en-US" sz="1400" dirty="0"/>
              <a:t>(Simplified geometric model of structures)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B764D488-04AD-4E2D-AAB0-0D77774A8234}"/>
              </a:ext>
            </a:extLst>
          </p:cNvPr>
          <p:cNvCxnSpPr>
            <a:cxnSpLocks/>
          </p:cNvCxnSpPr>
          <p:nvPr/>
        </p:nvCxnSpPr>
        <p:spPr>
          <a:xfrm flipV="1">
            <a:off x="8108737" y="3808476"/>
            <a:ext cx="0" cy="406698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667215A-FD70-42ED-8645-87CCEADEE4D6}"/>
              </a:ext>
            </a:extLst>
          </p:cNvPr>
          <p:cNvSpPr/>
          <p:nvPr/>
        </p:nvSpPr>
        <p:spPr>
          <a:xfrm>
            <a:off x="7041937" y="3049524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Analytical</a:t>
            </a:r>
          </a:p>
          <a:p>
            <a:pPr algn="ctr"/>
            <a:r>
              <a:rPr lang="en-US" sz="1400" dirty="0"/>
              <a:t>(simplified geometric abstraction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0CA941-671C-486B-BCAC-A188053D8749}"/>
              </a:ext>
            </a:extLst>
          </p:cNvPr>
          <p:cNvSpPr/>
          <p:nvPr/>
        </p:nvSpPr>
        <p:spPr>
          <a:xfrm>
            <a:off x="7041937" y="1788633"/>
            <a:ext cx="2133600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Geometric3d</a:t>
            </a:r>
          </a:p>
          <a:p>
            <a:pPr algn="ctr"/>
            <a:r>
              <a:rPr lang="en-US" sz="1400" dirty="0"/>
              <a:t>(cartesian, </a:t>
            </a:r>
            <a:r>
              <a:rPr lang="en-US" sz="1400" dirty="0" err="1"/>
              <a:t>geolocateable</a:t>
            </a:r>
            <a:r>
              <a:rPr lang="en-US" sz="1400" dirty="0"/>
              <a:t>)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B28675C-13C8-45F7-BEDD-59BBF307B5EB}"/>
              </a:ext>
            </a:extLst>
          </p:cNvPr>
          <p:cNvCxnSpPr>
            <a:cxnSpLocks/>
          </p:cNvCxnSpPr>
          <p:nvPr/>
        </p:nvCxnSpPr>
        <p:spPr>
          <a:xfrm flipV="1">
            <a:off x="8108737" y="2528444"/>
            <a:ext cx="0" cy="269253"/>
          </a:xfrm>
          <a:prstGeom prst="straightConnector1">
            <a:avLst/>
          </a:prstGeom>
          <a:ln w="38100">
            <a:solidFill>
              <a:schemeClr val="tx2"/>
            </a:solidFill>
            <a:tailEnd type="triangl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A1A5AB9-85B0-48C3-A924-40D093B5083A}"/>
              </a:ext>
            </a:extLst>
          </p:cNvPr>
          <p:cNvCxnSpPr>
            <a:cxnSpLocks/>
          </p:cNvCxnSpPr>
          <p:nvPr/>
        </p:nvCxnSpPr>
        <p:spPr>
          <a:xfrm>
            <a:off x="3044369" y="2797697"/>
            <a:ext cx="0" cy="189065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51B9C6A-CCF7-4930-9C64-81D15CD8A6EA}"/>
              </a:ext>
            </a:extLst>
          </p:cNvPr>
          <p:cNvCxnSpPr>
            <a:cxnSpLocks/>
          </p:cNvCxnSpPr>
          <p:nvPr/>
        </p:nvCxnSpPr>
        <p:spPr>
          <a:xfrm>
            <a:off x="3026569" y="2803518"/>
            <a:ext cx="7644461" cy="0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C99EE49-56E1-4369-93AE-BD357E717D31}"/>
              </a:ext>
            </a:extLst>
          </p:cNvPr>
          <p:cNvCxnSpPr>
            <a:cxnSpLocks/>
          </p:cNvCxnSpPr>
          <p:nvPr/>
        </p:nvCxnSpPr>
        <p:spPr>
          <a:xfrm>
            <a:off x="10652832" y="2797209"/>
            <a:ext cx="1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573CC599-AE33-4928-AE15-61834A32B881}"/>
              </a:ext>
            </a:extLst>
          </p:cNvPr>
          <p:cNvSpPr/>
          <p:nvPr/>
        </p:nvSpPr>
        <p:spPr>
          <a:xfrm>
            <a:off x="9492600" y="3049524"/>
            <a:ext cx="2320464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/>
              <a:t>GraphicalElement3d</a:t>
            </a:r>
          </a:p>
          <a:p>
            <a:pPr algn="ctr"/>
            <a:r>
              <a:rPr lang="en-US" sz="1400" dirty="0"/>
              <a:t>(visual depiction of data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982F54A-A3E3-4329-9424-2A1AA855A789}"/>
              </a:ext>
            </a:extLst>
          </p:cNvPr>
          <p:cNvSpPr/>
          <p:nvPr/>
        </p:nvSpPr>
        <p:spPr>
          <a:xfrm>
            <a:off x="4631400" y="3066463"/>
            <a:ext cx="2093474" cy="7589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 err="1"/>
              <a:t>ProjectedLocation</a:t>
            </a:r>
            <a:endParaRPr lang="en-US" i="1" dirty="0"/>
          </a:p>
          <a:p>
            <a:pPr algn="ctr"/>
            <a:r>
              <a:rPr lang="en-US" sz="1400" dirty="0"/>
              <a:t>(projected to a plane)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6E5D1878-22BA-438F-A1A1-C444A834C9F9}"/>
              </a:ext>
            </a:extLst>
          </p:cNvPr>
          <p:cNvCxnSpPr>
            <a:cxnSpLocks/>
            <a:endCxn id="20" idx="0"/>
          </p:cNvCxnSpPr>
          <p:nvPr/>
        </p:nvCxnSpPr>
        <p:spPr>
          <a:xfrm>
            <a:off x="5678137" y="2797209"/>
            <a:ext cx="0" cy="269254"/>
          </a:xfrm>
          <a:prstGeom prst="straightConnector1">
            <a:avLst/>
          </a:prstGeom>
          <a:ln w="38100">
            <a:solidFill>
              <a:schemeClr val="tx2"/>
            </a:solidFill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07133412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Physical Hierarchy Stereotypes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F58CFE6E-0C9D-4E8A-81CB-C4F4BF7649F1}"/>
              </a:ext>
            </a:extLst>
          </p:cNvPr>
          <p:cNvSpPr/>
          <p:nvPr/>
        </p:nvSpPr>
        <p:spPr>
          <a:xfrm>
            <a:off x="1857108" y="1536569"/>
            <a:ext cx="6719066" cy="3376511"/>
          </a:xfrm>
          <a:prstGeom prst="roundRect">
            <a:avLst>
              <a:gd name="adj" fmla="val 12417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70D0571-CA6C-4285-9978-A495A398B16D}"/>
              </a:ext>
            </a:extLst>
          </p:cNvPr>
          <p:cNvSpPr/>
          <p:nvPr/>
        </p:nvSpPr>
        <p:spPr>
          <a:xfrm>
            <a:off x="2135206" y="2374890"/>
            <a:ext cx="6103822" cy="245163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B352C25-FC12-436A-940A-B1ECAA45DB9B}"/>
              </a:ext>
            </a:extLst>
          </p:cNvPr>
          <p:cNvSpPr txBox="1"/>
          <p:nvPr/>
        </p:nvSpPr>
        <p:spPr>
          <a:xfrm>
            <a:off x="2956253" y="1103693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E34BE3D-DBFA-4A01-BD96-A8594D08B36E}"/>
              </a:ext>
            </a:extLst>
          </p:cNvPr>
          <p:cNvGrpSpPr/>
          <p:nvPr/>
        </p:nvGrpSpPr>
        <p:grpSpPr>
          <a:xfrm>
            <a:off x="2681396" y="2131455"/>
            <a:ext cx="867032" cy="501921"/>
            <a:chOff x="2632334" y="2018331"/>
            <a:chExt cx="867032" cy="501921"/>
          </a:xfrm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9131E13-8E6B-41FD-88EB-F89D236F62D0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33E087C7-1183-4874-A349-42EEAA34A567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1FBBB1BD-3119-43AE-8210-367591821FD7}"/>
              </a:ext>
            </a:extLst>
          </p:cNvPr>
          <p:cNvSpPr/>
          <p:nvPr/>
        </p:nvSpPr>
        <p:spPr>
          <a:xfrm>
            <a:off x="1644539" y="942444"/>
            <a:ext cx="7358059" cy="4218181"/>
          </a:xfrm>
          <a:prstGeom prst="roundRect">
            <a:avLst>
              <a:gd name="adj" fmla="val 4644"/>
            </a:avLst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03CB57C-C50B-4A32-8E70-C6B2937F9AEF}"/>
              </a:ext>
            </a:extLst>
          </p:cNvPr>
          <p:cNvGrpSpPr/>
          <p:nvPr/>
        </p:nvGrpSpPr>
        <p:grpSpPr>
          <a:xfrm>
            <a:off x="2681396" y="1283007"/>
            <a:ext cx="867032" cy="501921"/>
            <a:chOff x="2940163" y="1283748"/>
            <a:chExt cx="867032" cy="501921"/>
          </a:xfrm>
        </p:grpSpPr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98658CA-291E-4941-A956-9E630D6D84C9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EC56F11-A87B-4CC2-AD4D-6D5AAD3C485D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078B35B0-6BDD-43F7-B157-68EAD61468DE}"/>
              </a:ext>
            </a:extLst>
          </p:cNvPr>
          <p:cNvSpPr/>
          <p:nvPr/>
        </p:nvSpPr>
        <p:spPr>
          <a:xfrm>
            <a:off x="2265166" y="3224197"/>
            <a:ext cx="5757044" cy="1437243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0E60D90-2F24-448E-B4D1-F64934AEDE0C}"/>
              </a:ext>
            </a:extLst>
          </p:cNvPr>
          <p:cNvGrpSpPr/>
          <p:nvPr/>
        </p:nvGrpSpPr>
        <p:grpSpPr>
          <a:xfrm>
            <a:off x="2681396" y="2949150"/>
            <a:ext cx="867032" cy="501921"/>
            <a:chOff x="8144873" y="2723071"/>
            <a:chExt cx="867032" cy="501921"/>
          </a:xfrm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72C9168-11D8-45DA-A9E3-AC6F586DF392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B6B9E58-1448-476F-8AB1-22B9A13309E3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0684432-06D7-406F-A8C9-81176B34BE5F}"/>
              </a:ext>
            </a:extLst>
          </p:cNvPr>
          <p:cNvGrpSpPr/>
          <p:nvPr/>
        </p:nvGrpSpPr>
        <p:grpSpPr>
          <a:xfrm>
            <a:off x="2577578" y="3893273"/>
            <a:ext cx="1074668" cy="607647"/>
            <a:chOff x="2399494" y="3441340"/>
            <a:chExt cx="976549" cy="552168"/>
          </a:xfrm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6E771E8-37A2-4A89-BDDE-A13F41E1202D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864CF5E-B9E1-478A-9599-5B85086D50AF}"/>
                </a:ext>
              </a:extLst>
            </p:cNvPr>
            <p:cNvSpPr txBox="1"/>
            <p:nvPr/>
          </p:nvSpPr>
          <p:spPr>
            <a:xfrm>
              <a:off x="2399494" y="3498866"/>
              <a:ext cx="9765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239505F-03B5-49F8-B547-EDB5963C5904}"/>
              </a:ext>
            </a:extLst>
          </p:cNvPr>
          <p:cNvGrpSpPr/>
          <p:nvPr/>
        </p:nvGrpSpPr>
        <p:grpSpPr>
          <a:xfrm>
            <a:off x="3872611" y="1686932"/>
            <a:ext cx="867032" cy="501921"/>
            <a:chOff x="2940163" y="1283748"/>
            <a:chExt cx="867032" cy="501921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3C68F3-087A-4619-8395-6DD6B4DE8F25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DB96A20-EAD2-42B9-9E93-0AFD94F1C752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D173835-D9F2-4F87-B767-107475B02FA5}"/>
              </a:ext>
            </a:extLst>
          </p:cNvPr>
          <p:cNvGrpSpPr/>
          <p:nvPr/>
        </p:nvGrpSpPr>
        <p:grpSpPr>
          <a:xfrm>
            <a:off x="6091455" y="3893273"/>
            <a:ext cx="1049665" cy="607647"/>
            <a:chOff x="2410853" y="3441340"/>
            <a:chExt cx="953829" cy="552168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9011727-99DD-4549-AFC3-1CC858DF95F1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5362726-B961-4E08-A70D-C381381A5269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5642D19-FBF8-4FE5-BF91-367CB768FCA0}"/>
              </a:ext>
            </a:extLst>
          </p:cNvPr>
          <p:cNvGrpSpPr/>
          <p:nvPr/>
        </p:nvGrpSpPr>
        <p:grpSpPr>
          <a:xfrm>
            <a:off x="4976159" y="1686932"/>
            <a:ext cx="867032" cy="501921"/>
            <a:chOff x="8144873" y="2723071"/>
            <a:chExt cx="867032" cy="501921"/>
          </a:xfrm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577BF5D-A6DD-4035-AD61-A1C1FDEB6766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0A875256-B1E3-435E-845D-1734D6AFF0B5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353AFA8-C2E3-4D8E-9C71-47FEE22D841B}"/>
              </a:ext>
            </a:extLst>
          </p:cNvPr>
          <p:cNvGrpSpPr/>
          <p:nvPr/>
        </p:nvGrpSpPr>
        <p:grpSpPr>
          <a:xfrm>
            <a:off x="6091455" y="1634069"/>
            <a:ext cx="1049665" cy="607647"/>
            <a:chOff x="2410853" y="3441340"/>
            <a:chExt cx="953829" cy="552168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77FEAE4-B02E-4599-847D-65EC2B1E5AE9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0A5267E2-D64B-4BFD-846A-CD93F46F5872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889B85FE-25F3-40E2-B667-0D20B434216B}"/>
              </a:ext>
            </a:extLst>
          </p:cNvPr>
          <p:cNvGrpSpPr/>
          <p:nvPr/>
        </p:nvGrpSpPr>
        <p:grpSpPr>
          <a:xfrm>
            <a:off x="3872611" y="2594646"/>
            <a:ext cx="867032" cy="501921"/>
            <a:chOff x="2632334" y="2018331"/>
            <a:chExt cx="867032" cy="501921"/>
          </a:xfrm>
        </p:grpSpPr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7DC8DB0-DCA4-421F-81A9-833F60E165F6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649F3C2-D5DE-4842-AFE1-D497E1D225BE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DED8B21D-B96E-434B-B321-AB2DA5632F7F}"/>
              </a:ext>
            </a:extLst>
          </p:cNvPr>
          <p:cNvGrpSpPr/>
          <p:nvPr/>
        </p:nvGrpSpPr>
        <p:grpSpPr>
          <a:xfrm>
            <a:off x="6091455" y="2541783"/>
            <a:ext cx="1049665" cy="607647"/>
            <a:chOff x="2410853" y="3441340"/>
            <a:chExt cx="953829" cy="552168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D0003923-B76D-42E4-B040-31E82DEC130A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883C8EF-EA15-42CF-BB23-6FB1048AA94D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D3852FB-1BAF-404D-9EEF-DD02966A20D7}"/>
              </a:ext>
            </a:extLst>
          </p:cNvPr>
          <p:cNvGrpSpPr/>
          <p:nvPr/>
        </p:nvGrpSpPr>
        <p:grpSpPr>
          <a:xfrm>
            <a:off x="3872611" y="3946136"/>
            <a:ext cx="867032" cy="501921"/>
            <a:chOff x="2632334" y="2018331"/>
            <a:chExt cx="867032" cy="501921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8D83A18-7B2D-4D41-B58B-87B4E925F2F7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3058611-2AD6-4FE0-BDF6-80C59760B020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BCE204D-9B0C-498E-AA05-38EC70B8F941}"/>
              </a:ext>
            </a:extLst>
          </p:cNvPr>
          <p:cNvGrpSpPr/>
          <p:nvPr/>
        </p:nvGrpSpPr>
        <p:grpSpPr>
          <a:xfrm>
            <a:off x="4976159" y="3946136"/>
            <a:ext cx="867032" cy="501921"/>
            <a:chOff x="8144873" y="2723071"/>
            <a:chExt cx="867032" cy="501921"/>
          </a:xfrm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EBFC6558-66A1-4EC7-AA6A-874547FE491A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ECD7E2C-2B43-4598-8B39-8EA5A3C3259E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95743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143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F03EF-C30B-4EB6-B31E-2D59166AC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Example Organization">
            <a:extLst>
              <a:ext uri="{FF2B5EF4-FFF2-40B4-BE49-F238E27FC236}">
                <a16:creationId xmlns:a16="http://schemas.microsoft.com/office/drawing/2014/main" id="{92059817-F83D-4ECF-992C-AC0FC0A1B905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7110" y="1190500"/>
            <a:ext cx="8725213" cy="48143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2124412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 descr="Example Organization">
            <a:extLst>
              <a:ext uri="{FF2B5EF4-FFF2-40B4-BE49-F238E27FC236}">
                <a16:creationId xmlns:a16="http://schemas.microsoft.com/office/drawing/2014/main" id="{132D1383-FF16-4C47-A935-0C267BAA8A56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5510" y="2509066"/>
            <a:ext cx="6982602" cy="385284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Physical Hierarchy Stereotypes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F58CFE6E-0C9D-4E8A-81CB-C4F4BF7649F1}"/>
              </a:ext>
            </a:extLst>
          </p:cNvPr>
          <p:cNvSpPr/>
          <p:nvPr/>
        </p:nvSpPr>
        <p:spPr>
          <a:xfrm>
            <a:off x="414807" y="1234906"/>
            <a:ext cx="5731469" cy="3376511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70D0571-CA6C-4285-9978-A495A398B16D}"/>
              </a:ext>
            </a:extLst>
          </p:cNvPr>
          <p:cNvSpPr/>
          <p:nvPr/>
        </p:nvSpPr>
        <p:spPr>
          <a:xfrm>
            <a:off x="692905" y="2073227"/>
            <a:ext cx="5368530" cy="245163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B352C25-FC12-436A-940A-B1ECAA45DB9B}"/>
              </a:ext>
            </a:extLst>
          </p:cNvPr>
          <p:cNvSpPr txBox="1"/>
          <p:nvPr/>
        </p:nvSpPr>
        <p:spPr>
          <a:xfrm>
            <a:off x="1513952" y="802030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E34BE3D-DBFA-4A01-BD96-A8594D08B36E}"/>
              </a:ext>
            </a:extLst>
          </p:cNvPr>
          <p:cNvGrpSpPr/>
          <p:nvPr/>
        </p:nvGrpSpPr>
        <p:grpSpPr>
          <a:xfrm>
            <a:off x="1239095" y="1829792"/>
            <a:ext cx="867032" cy="501921"/>
            <a:chOff x="2632334" y="2018331"/>
            <a:chExt cx="867032" cy="501921"/>
          </a:xfrm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9131E13-8E6B-41FD-88EB-F89D236F62D0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33E087C7-1183-4874-A349-42EEAA34A567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03CB57C-C50B-4A32-8E70-C6B2937F9AEF}"/>
              </a:ext>
            </a:extLst>
          </p:cNvPr>
          <p:cNvGrpSpPr/>
          <p:nvPr/>
        </p:nvGrpSpPr>
        <p:grpSpPr>
          <a:xfrm>
            <a:off x="1239095" y="981344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98658CA-291E-4941-A956-9E630D6D84C9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EC56F11-A87B-4CC2-AD4D-6D5AAD3C485D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078B35B0-6BDD-43F7-B157-68EAD61468DE}"/>
              </a:ext>
            </a:extLst>
          </p:cNvPr>
          <p:cNvSpPr/>
          <p:nvPr/>
        </p:nvSpPr>
        <p:spPr>
          <a:xfrm>
            <a:off x="822865" y="2922534"/>
            <a:ext cx="5119792" cy="1437243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0E60D90-2F24-448E-B4D1-F64934AEDE0C}"/>
              </a:ext>
            </a:extLst>
          </p:cNvPr>
          <p:cNvGrpSpPr/>
          <p:nvPr/>
        </p:nvGrpSpPr>
        <p:grpSpPr>
          <a:xfrm>
            <a:off x="1239095" y="2675768"/>
            <a:ext cx="867032" cy="501921"/>
            <a:chOff x="8144873" y="2723071"/>
            <a:chExt cx="867032" cy="501921"/>
          </a:xfrm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72C9168-11D8-45DA-A9E3-AC6F586DF392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B6B9E58-1448-476F-8AB1-22B9A13309E3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0684432-06D7-406F-A8C9-81176B34BE5F}"/>
              </a:ext>
            </a:extLst>
          </p:cNvPr>
          <p:cNvGrpSpPr/>
          <p:nvPr/>
        </p:nvGrpSpPr>
        <p:grpSpPr>
          <a:xfrm>
            <a:off x="1135277" y="3591610"/>
            <a:ext cx="1074668" cy="607647"/>
            <a:chOff x="2399494" y="3441340"/>
            <a:chExt cx="976549" cy="552168"/>
          </a:xfrm>
          <a:solidFill>
            <a:srgbClr val="C00000"/>
          </a:solidFill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6E771E8-37A2-4A89-BDDE-A13F41E1202D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864CF5E-B9E1-478A-9599-5B85086D50AF}"/>
                </a:ext>
              </a:extLst>
            </p:cNvPr>
            <p:cNvSpPr txBox="1"/>
            <p:nvPr/>
          </p:nvSpPr>
          <p:spPr>
            <a:xfrm>
              <a:off x="2399494" y="3498866"/>
              <a:ext cx="9765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239505F-03B5-49F8-B547-EDB5963C5904}"/>
              </a:ext>
            </a:extLst>
          </p:cNvPr>
          <p:cNvGrpSpPr/>
          <p:nvPr/>
        </p:nvGrpSpPr>
        <p:grpSpPr>
          <a:xfrm>
            <a:off x="2430310" y="1385269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3C68F3-087A-4619-8395-6DD6B4DE8F25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DB96A20-EAD2-42B9-9E93-0AFD94F1C752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D173835-D9F2-4F87-B767-107475B02FA5}"/>
              </a:ext>
            </a:extLst>
          </p:cNvPr>
          <p:cNvGrpSpPr/>
          <p:nvPr/>
        </p:nvGrpSpPr>
        <p:grpSpPr>
          <a:xfrm>
            <a:off x="4649154" y="3591610"/>
            <a:ext cx="1049665" cy="607647"/>
            <a:chOff x="2410853" y="3441340"/>
            <a:chExt cx="953829" cy="552168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9011727-99DD-4549-AFC3-1CC858DF95F1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5362726-B961-4E08-A70D-C381381A5269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5642D19-FBF8-4FE5-BF91-367CB768FCA0}"/>
              </a:ext>
            </a:extLst>
          </p:cNvPr>
          <p:cNvGrpSpPr/>
          <p:nvPr/>
        </p:nvGrpSpPr>
        <p:grpSpPr>
          <a:xfrm>
            <a:off x="3533858" y="1385269"/>
            <a:ext cx="867032" cy="501921"/>
            <a:chOff x="8144873" y="2723071"/>
            <a:chExt cx="867032" cy="501921"/>
          </a:xfrm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577BF5D-A6DD-4035-AD61-A1C1FDEB6766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0A875256-B1E3-435E-845D-1734D6AFF0B5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353AFA8-C2E3-4D8E-9C71-47FEE22D841B}"/>
              </a:ext>
            </a:extLst>
          </p:cNvPr>
          <p:cNvGrpSpPr/>
          <p:nvPr/>
        </p:nvGrpSpPr>
        <p:grpSpPr>
          <a:xfrm>
            <a:off x="4649154" y="1332406"/>
            <a:ext cx="1049665" cy="607647"/>
            <a:chOff x="2410853" y="3441340"/>
            <a:chExt cx="953829" cy="552168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77FEAE4-B02E-4599-847D-65EC2B1E5AE9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0A5267E2-D64B-4BFD-846A-CD93F46F5872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889B85FE-25F3-40E2-B667-0D20B434216B}"/>
              </a:ext>
            </a:extLst>
          </p:cNvPr>
          <p:cNvGrpSpPr/>
          <p:nvPr/>
        </p:nvGrpSpPr>
        <p:grpSpPr>
          <a:xfrm>
            <a:off x="2430310" y="2292983"/>
            <a:ext cx="867032" cy="501921"/>
            <a:chOff x="2632334" y="2018331"/>
            <a:chExt cx="867032" cy="501921"/>
          </a:xfrm>
        </p:grpSpPr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7DC8DB0-DCA4-421F-81A9-833F60E165F6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649F3C2-D5DE-4842-AFE1-D497E1D225BE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DED8B21D-B96E-434B-B321-AB2DA5632F7F}"/>
              </a:ext>
            </a:extLst>
          </p:cNvPr>
          <p:cNvGrpSpPr/>
          <p:nvPr/>
        </p:nvGrpSpPr>
        <p:grpSpPr>
          <a:xfrm>
            <a:off x="4649154" y="2240120"/>
            <a:ext cx="1049665" cy="607647"/>
            <a:chOff x="2410853" y="3441340"/>
            <a:chExt cx="953829" cy="552168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D0003923-B76D-42E4-B040-31E82DEC130A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883C8EF-EA15-42CF-BB23-6FB1048AA94D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D3852FB-1BAF-404D-9EEF-DD02966A20D7}"/>
              </a:ext>
            </a:extLst>
          </p:cNvPr>
          <p:cNvGrpSpPr/>
          <p:nvPr/>
        </p:nvGrpSpPr>
        <p:grpSpPr>
          <a:xfrm>
            <a:off x="2430310" y="3644473"/>
            <a:ext cx="867032" cy="501921"/>
            <a:chOff x="2632334" y="2018331"/>
            <a:chExt cx="867032" cy="501921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8D83A18-7B2D-4D41-B58B-87B4E925F2F7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3058611-2AD6-4FE0-BDF6-80C59760B020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BCE204D-9B0C-498E-AA05-38EC70B8F941}"/>
              </a:ext>
            </a:extLst>
          </p:cNvPr>
          <p:cNvGrpSpPr/>
          <p:nvPr/>
        </p:nvGrpSpPr>
        <p:grpSpPr>
          <a:xfrm>
            <a:off x="3533858" y="3644473"/>
            <a:ext cx="867032" cy="501921"/>
            <a:chOff x="8144873" y="2723071"/>
            <a:chExt cx="867032" cy="501921"/>
          </a:xfrm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EBFC6558-66A1-4EC7-AA6A-874547FE491A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ECD7E2C-2B43-4598-8B39-8EA5A3C3259E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827100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14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8F1B01BA-25D5-4731-9B7C-71E3D8787F5F}"/>
              </a:ext>
            </a:extLst>
          </p:cNvPr>
          <p:cNvGrpSpPr/>
          <p:nvPr/>
        </p:nvGrpSpPr>
        <p:grpSpPr>
          <a:xfrm>
            <a:off x="4772484" y="2709854"/>
            <a:ext cx="1249060" cy="2014030"/>
            <a:chOff x="8253320" y="4014450"/>
            <a:chExt cx="1249060" cy="2014030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FE7C847-7039-4AAE-B1E1-DD1A79E00F14}"/>
                </a:ext>
              </a:extLst>
            </p:cNvPr>
            <p:cNvSpPr/>
            <p:nvPr/>
          </p:nvSpPr>
          <p:spPr>
            <a:xfrm rot="16200000" flipV="1">
              <a:off x="7870835" y="4438509"/>
              <a:ext cx="2014030" cy="116591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F788B44-68D4-4273-87C1-1D593834AF97}"/>
                </a:ext>
              </a:extLst>
            </p:cNvPr>
            <p:cNvSpPr/>
            <p:nvPr/>
          </p:nvSpPr>
          <p:spPr>
            <a:xfrm rot="1800000">
              <a:off x="8253320" y="4698299"/>
              <a:ext cx="1249060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Functional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Entit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61644DF-3563-4BED-9C4E-C96839190F29}"/>
              </a:ext>
            </a:extLst>
          </p:cNvPr>
          <p:cNvGrpSpPr/>
          <p:nvPr/>
        </p:nvGrpSpPr>
        <p:grpSpPr>
          <a:xfrm>
            <a:off x="4969150" y="2134115"/>
            <a:ext cx="2014030" cy="1165911"/>
            <a:chOff x="8449986" y="3438711"/>
            <a:chExt cx="2014030" cy="1165911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D1C646-21FA-4A7B-AB3C-F2763063B884}"/>
                </a:ext>
              </a:extLst>
            </p:cNvPr>
            <p:cNvSpPr/>
            <p:nvPr/>
          </p:nvSpPr>
          <p:spPr>
            <a:xfrm rot="12600000" flipV="1">
              <a:off x="8449986" y="3438711"/>
              <a:ext cx="2014030" cy="116591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8E215F7-8CE3-4ECA-9067-5BFD53FCEC7A}"/>
                </a:ext>
              </a:extLst>
            </p:cNvPr>
            <p:cNvSpPr/>
            <p:nvPr/>
          </p:nvSpPr>
          <p:spPr>
            <a:xfrm>
              <a:off x="8935063" y="3682020"/>
              <a:ext cx="1043876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Physical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Entity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CB992FE-2A24-476D-A6CF-313ACFC68DC5}"/>
              </a:ext>
            </a:extLst>
          </p:cNvPr>
          <p:cNvGrpSpPr/>
          <p:nvPr/>
        </p:nvGrpSpPr>
        <p:grpSpPr>
          <a:xfrm>
            <a:off x="5544344" y="3136962"/>
            <a:ext cx="2014030" cy="1165911"/>
            <a:chOff x="9034416" y="4441558"/>
            <a:chExt cx="2014030" cy="1165911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F5128F0-F3C5-4481-BEE8-34175CE25CFA}"/>
                </a:ext>
              </a:extLst>
            </p:cNvPr>
            <p:cNvSpPr/>
            <p:nvPr/>
          </p:nvSpPr>
          <p:spPr>
            <a:xfrm rot="19800000" flipV="1">
              <a:off x="9034416" y="4441558"/>
              <a:ext cx="2014030" cy="116591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312D8EE-D2C8-40E1-8673-BBA312080CF8}"/>
                </a:ext>
              </a:extLst>
            </p:cNvPr>
            <p:cNvSpPr/>
            <p:nvPr/>
          </p:nvSpPr>
          <p:spPr>
            <a:xfrm rot="19800000">
              <a:off x="9660557" y="4701348"/>
              <a:ext cx="761747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Other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Entity</a:t>
              </a:r>
            </a:p>
          </p:txBody>
        </p:sp>
      </p:grpSp>
      <p:sp>
        <p:nvSpPr>
          <p:cNvPr id="2" name="Hexagon 1">
            <a:extLst>
              <a:ext uri="{FF2B5EF4-FFF2-40B4-BE49-F238E27FC236}">
                <a16:creationId xmlns:a16="http://schemas.microsoft.com/office/drawing/2014/main" id="{2A461AB0-6310-4435-86AC-4821CC4F7BD8}"/>
              </a:ext>
            </a:extLst>
          </p:cNvPr>
          <p:cNvSpPr/>
          <p:nvPr/>
        </p:nvSpPr>
        <p:spPr>
          <a:xfrm rot="1800000">
            <a:off x="4606973" y="2194348"/>
            <a:ext cx="2733384" cy="2373837"/>
          </a:xfrm>
          <a:custGeom>
            <a:avLst/>
            <a:gdLst>
              <a:gd name="connsiteX0" fmla="*/ 0 w 2628787"/>
              <a:gd name="connsiteY0" fmla="*/ 1133098 h 2266196"/>
              <a:gd name="connsiteX1" fmla="*/ 566549 w 2628787"/>
              <a:gd name="connsiteY1" fmla="*/ 1 h 2266196"/>
              <a:gd name="connsiteX2" fmla="*/ 2062238 w 2628787"/>
              <a:gd name="connsiteY2" fmla="*/ 1 h 2266196"/>
              <a:gd name="connsiteX3" fmla="*/ 2628787 w 2628787"/>
              <a:gd name="connsiteY3" fmla="*/ 1133098 h 2266196"/>
              <a:gd name="connsiteX4" fmla="*/ 2062238 w 2628787"/>
              <a:gd name="connsiteY4" fmla="*/ 2266195 h 2266196"/>
              <a:gd name="connsiteX5" fmla="*/ 566549 w 2628787"/>
              <a:gd name="connsiteY5" fmla="*/ 2266195 h 2266196"/>
              <a:gd name="connsiteX6" fmla="*/ 0 w 2628787"/>
              <a:gd name="connsiteY6" fmla="*/ 1133098 h 2266196"/>
              <a:gd name="connsiteX0" fmla="*/ 0 w 2692686"/>
              <a:gd name="connsiteY0" fmla="*/ 1146173 h 2266194"/>
              <a:gd name="connsiteX1" fmla="*/ 630448 w 2692686"/>
              <a:gd name="connsiteY1" fmla="*/ 0 h 2266194"/>
              <a:gd name="connsiteX2" fmla="*/ 2126137 w 2692686"/>
              <a:gd name="connsiteY2" fmla="*/ 0 h 2266194"/>
              <a:gd name="connsiteX3" fmla="*/ 2692686 w 2692686"/>
              <a:gd name="connsiteY3" fmla="*/ 1133097 h 2266194"/>
              <a:gd name="connsiteX4" fmla="*/ 2126137 w 2692686"/>
              <a:gd name="connsiteY4" fmla="*/ 2266194 h 2266194"/>
              <a:gd name="connsiteX5" fmla="*/ 630448 w 2692686"/>
              <a:gd name="connsiteY5" fmla="*/ 2266194 h 2266194"/>
              <a:gd name="connsiteX6" fmla="*/ 0 w 2692686"/>
              <a:gd name="connsiteY6" fmla="*/ 1146173 h 2266194"/>
              <a:gd name="connsiteX0" fmla="*/ 0 w 2692686"/>
              <a:gd name="connsiteY0" fmla="*/ 1184824 h 2304845"/>
              <a:gd name="connsiteX1" fmla="*/ 692812 w 2692686"/>
              <a:gd name="connsiteY1" fmla="*/ 0 h 2304845"/>
              <a:gd name="connsiteX2" fmla="*/ 2126137 w 2692686"/>
              <a:gd name="connsiteY2" fmla="*/ 38651 h 2304845"/>
              <a:gd name="connsiteX3" fmla="*/ 2692686 w 2692686"/>
              <a:gd name="connsiteY3" fmla="*/ 1171748 h 2304845"/>
              <a:gd name="connsiteX4" fmla="*/ 2126137 w 2692686"/>
              <a:gd name="connsiteY4" fmla="*/ 2304845 h 2304845"/>
              <a:gd name="connsiteX5" fmla="*/ 630448 w 2692686"/>
              <a:gd name="connsiteY5" fmla="*/ 2304845 h 2304845"/>
              <a:gd name="connsiteX6" fmla="*/ 0 w 2692686"/>
              <a:gd name="connsiteY6" fmla="*/ 1184824 h 2304845"/>
              <a:gd name="connsiteX0" fmla="*/ 0 w 2692686"/>
              <a:gd name="connsiteY0" fmla="*/ 1184824 h 2304845"/>
              <a:gd name="connsiteX1" fmla="*/ 692812 w 2692686"/>
              <a:gd name="connsiteY1" fmla="*/ 0 h 2304845"/>
              <a:gd name="connsiteX2" fmla="*/ 2046726 w 2692686"/>
              <a:gd name="connsiteY2" fmla="*/ 15696 h 2304845"/>
              <a:gd name="connsiteX3" fmla="*/ 2692686 w 2692686"/>
              <a:gd name="connsiteY3" fmla="*/ 1171748 h 2304845"/>
              <a:gd name="connsiteX4" fmla="*/ 2126137 w 2692686"/>
              <a:gd name="connsiteY4" fmla="*/ 2304845 h 2304845"/>
              <a:gd name="connsiteX5" fmla="*/ 630448 w 2692686"/>
              <a:gd name="connsiteY5" fmla="*/ 2304845 h 2304845"/>
              <a:gd name="connsiteX6" fmla="*/ 0 w 2692686"/>
              <a:gd name="connsiteY6" fmla="*/ 1184824 h 2304845"/>
              <a:gd name="connsiteX0" fmla="*/ 0 w 2736822"/>
              <a:gd name="connsiteY0" fmla="*/ 1184824 h 2304845"/>
              <a:gd name="connsiteX1" fmla="*/ 692812 w 2736822"/>
              <a:gd name="connsiteY1" fmla="*/ 0 h 2304845"/>
              <a:gd name="connsiteX2" fmla="*/ 2046726 w 2736822"/>
              <a:gd name="connsiteY2" fmla="*/ 15696 h 2304845"/>
              <a:gd name="connsiteX3" fmla="*/ 2736822 w 2736822"/>
              <a:gd name="connsiteY3" fmla="*/ 1188607 h 2304845"/>
              <a:gd name="connsiteX4" fmla="*/ 2126137 w 2736822"/>
              <a:gd name="connsiteY4" fmla="*/ 2304845 h 2304845"/>
              <a:gd name="connsiteX5" fmla="*/ 630448 w 2736822"/>
              <a:gd name="connsiteY5" fmla="*/ 2304845 h 2304845"/>
              <a:gd name="connsiteX6" fmla="*/ 0 w 2736822"/>
              <a:gd name="connsiteY6" fmla="*/ 1184824 h 2304845"/>
              <a:gd name="connsiteX0" fmla="*/ 0 w 2736822"/>
              <a:gd name="connsiteY0" fmla="*/ 1184824 h 2385603"/>
              <a:gd name="connsiteX1" fmla="*/ 692812 w 2736822"/>
              <a:gd name="connsiteY1" fmla="*/ 0 h 2385603"/>
              <a:gd name="connsiteX2" fmla="*/ 2046726 w 2736822"/>
              <a:gd name="connsiteY2" fmla="*/ 15696 h 2385603"/>
              <a:gd name="connsiteX3" fmla="*/ 2736822 w 2736822"/>
              <a:gd name="connsiteY3" fmla="*/ 1188607 h 2385603"/>
              <a:gd name="connsiteX4" fmla="*/ 2126137 w 2736822"/>
              <a:gd name="connsiteY4" fmla="*/ 2304845 h 2385603"/>
              <a:gd name="connsiteX5" fmla="*/ 687659 w 2736822"/>
              <a:gd name="connsiteY5" fmla="*/ 2385603 h 2385603"/>
              <a:gd name="connsiteX6" fmla="*/ 0 w 2736822"/>
              <a:gd name="connsiteY6" fmla="*/ 1184824 h 2385603"/>
              <a:gd name="connsiteX0" fmla="*/ 0 w 2736822"/>
              <a:gd name="connsiteY0" fmla="*/ 1184824 h 2385603"/>
              <a:gd name="connsiteX1" fmla="*/ 692812 w 2736822"/>
              <a:gd name="connsiteY1" fmla="*/ 0 h 2385603"/>
              <a:gd name="connsiteX2" fmla="*/ 2046726 w 2736822"/>
              <a:gd name="connsiteY2" fmla="*/ 15696 h 2385603"/>
              <a:gd name="connsiteX3" fmla="*/ 2736822 w 2736822"/>
              <a:gd name="connsiteY3" fmla="*/ 1188607 h 2385603"/>
              <a:gd name="connsiteX4" fmla="*/ 2058207 w 2736822"/>
              <a:gd name="connsiteY4" fmla="*/ 2370526 h 2385603"/>
              <a:gd name="connsiteX5" fmla="*/ 687659 w 2736822"/>
              <a:gd name="connsiteY5" fmla="*/ 2385603 h 2385603"/>
              <a:gd name="connsiteX6" fmla="*/ 0 w 2736822"/>
              <a:gd name="connsiteY6" fmla="*/ 1184824 h 2385603"/>
              <a:gd name="connsiteX0" fmla="*/ 0 w 2733384"/>
              <a:gd name="connsiteY0" fmla="*/ 1190779 h 2385603"/>
              <a:gd name="connsiteX1" fmla="*/ 689374 w 2733384"/>
              <a:gd name="connsiteY1" fmla="*/ 0 h 2385603"/>
              <a:gd name="connsiteX2" fmla="*/ 2043288 w 2733384"/>
              <a:gd name="connsiteY2" fmla="*/ 15696 h 2385603"/>
              <a:gd name="connsiteX3" fmla="*/ 2733384 w 2733384"/>
              <a:gd name="connsiteY3" fmla="*/ 1188607 h 2385603"/>
              <a:gd name="connsiteX4" fmla="*/ 2054769 w 2733384"/>
              <a:gd name="connsiteY4" fmla="*/ 2370526 h 2385603"/>
              <a:gd name="connsiteX5" fmla="*/ 684221 w 2733384"/>
              <a:gd name="connsiteY5" fmla="*/ 2385603 h 2385603"/>
              <a:gd name="connsiteX6" fmla="*/ 0 w 2733384"/>
              <a:gd name="connsiteY6" fmla="*/ 1190779 h 2385603"/>
              <a:gd name="connsiteX0" fmla="*/ 0 w 2733384"/>
              <a:gd name="connsiteY0" fmla="*/ 1190779 h 2379650"/>
              <a:gd name="connsiteX1" fmla="*/ 689374 w 2733384"/>
              <a:gd name="connsiteY1" fmla="*/ 0 h 2379650"/>
              <a:gd name="connsiteX2" fmla="*/ 2043288 w 2733384"/>
              <a:gd name="connsiteY2" fmla="*/ 15696 h 2379650"/>
              <a:gd name="connsiteX3" fmla="*/ 2733384 w 2733384"/>
              <a:gd name="connsiteY3" fmla="*/ 1188607 h 2379650"/>
              <a:gd name="connsiteX4" fmla="*/ 2054769 w 2733384"/>
              <a:gd name="connsiteY4" fmla="*/ 2370526 h 2379650"/>
              <a:gd name="connsiteX5" fmla="*/ 680784 w 2733384"/>
              <a:gd name="connsiteY5" fmla="*/ 2379650 h 2379650"/>
              <a:gd name="connsiteX6" fmla="*/ 0 w 2733384"/>
              <a:gd name="connsiteY6" fmla="*/ 1190779 h 2379650"/>
              <a:gd name="connsiteX0" fmla="*/ 0 w 2733384"/>
              <a:gd name="connsiteY0" fmla="*/ 1190779 h 2381328"/>
              <a:gd name="connsiteX1" fmla="*/ 689374 w 2733384"/>
              <a:gd name="connsiteY1" fmla="*/ 0 h 2381328"/>
              <a:gd name="connsiteX2" fmla="*/ 2043288 w 2733384"/>
              <a:gd name="connsiteY2" fmla="*/ 15696 h 2381328"/>
              <a:gd name="connsiteX3" fmla="*/ 2733384 w 2733384"/>
              <a:gd name="connsiteY3" fmla="*/ 1188607 h 2381328"/>
              <a:gd name="connsiteX4" fmla="*/ 2054769 w 2733384"/>
              <a:gd name="connsiteY4" fmla="*/ 2370526 h 2381328"/>
              <a:gd name="connsiteX5" fmla="*/ 687045 w 2733384"/>
              <a:gd name="connsiteY5" fmla="*/ 2381328 h 2381328"/>
              <a:gd name="connsiteX6" fmla="*/ 0 w 2733384"/>
              <a:gd name="connsiteY6" fmla="*/ 1190779 h 2381328"/>
              <a:gd name="connsiteX0" fmla="*/ 0 w 2733384"/>
              <a:gd name="connsiteY0" fmla="*/ 1190779 h 2381328"/>
              <a:gd name="connsiteX1" fmla="*/ 689374 w 2733384"/>
              <a:gd name="connsiteY1" fmla="*/ 0 h 2381328"/>
              <a:gd name="connsiteX2" fmla="*/ 2043288 w 2733384"/>
              <a:gd name="connsiteY2" fmla="*/ 15696 h 2381328"/>
              <a:gd name="connsiteX3" fmla="*/ 2733384 w 2733384"/>
              <a:gd name="connsiteY3" fmla="*/ 1188607 h 2381328"/>
              <a:gd name="connsiteX4" fmla="*/ 2054769 w 2733384"/>
              <a:gd name="connsiteY4" fmla="*/ 2370526 h 2381328"/>
              <a:gd name="connsiteX5" fmla="*/ 687045 w 2733384"/>
              <a:gd name="connsiteY5" fmla="*/ 2381328 h 2381328"/>
              <a:gd name="connsiteX6" fmla="*/ 0 w 2733384"/>
              <a:gd name="connsiteY6" fmla="*/ 1190779 h 2381328"/>
              <a:gd name="connsiteX0" fmla="*/ 0 w 2733384"/>
              <a:gd name="connsiteY0" fmla="*/ 1190779 h 2390987"/>
              <a:gd name="connsiteX1" fmla="*/ 689374 w 2733384"/>
              <a:gd name="connsiteY1" fmla="*/ 0 h 2390987"/>
              <a:gd name="connsiteX2" fmla="*/ 2043288 w 2733384"/>
              <a:gd name="connsiteY2" fmla="*/ 15696 h 2390987"/>
              <a:gd name="connsiteX3" fmla="*/ 2733384 w 2733384"/>
              <a:gd name="connsiteY3" fmla="*/ 1188607 h 2390987"/>
              <a:gd name="connsiteX4" fmla="*/ 2055997 w 2733384"/>
              <a:gd name="connsiteY4" fmla="*/ 2390987 h 2390987"/>
              <a:gd name="connsiteX5" fmla="*/ 687045 w 2733384"/>
              <a:gd name="connsiteY5" fmla="*/ 2381328 h 2390987"/>
              <a:gd name="connsiteX6" fmla="*/ 0 w 2733384"/>
              <a:gd name="connsiteY6" fmla="*/ 1190779 h 2390987"/>
              <a:gd name="connsiteX0" fmla="*/ 0 w 2733384"/>
              <a:gd name="connsiteY0" fmla="*/ 1190779 h 2384725"/>
              <a:gd name="connsiteX1" fmla="*/ 689374 w 2733384"/>
              <a:gd name="connsiteY1" fmla="*/ 0 h 2384725"/>
              <a:gd name="connsiteX2" fmla="*/ 2043288 w 2733384"/>
              <a:gd name="connsiteY2" fmla="*/ 15696 h 2384725"/>
              <a:gd name="connsiteX3" fmla="*/ 2733384 w 2733384"/>
              <a:gd name="connsiteY3" fmla="*/ 1188607 h 2384725"/>
              <a:gd name="connsiteX4" fmla="*/ 2057675 w 2733384"/>
              <a:gd name="connsiteY4" fmla="*/ 2384725 h 2384725"/>
              <a:gd name="connsiteX5" fmla="*/ 687045 w 2733384"/>
              <a:gd name="connsiteY5" fmla="*/ 2381328 h 2384725"/>
              <a:gd name="connsiteX6" fmla="*/ 0 w 2733384"/>
              <a:gd name="connsiteY6" fmla="*/ 1190779 h 2384725"/>
              <a:gd name="connsiteX0" fmla="*/ 0 w 2733384"/>
              <a:gd name="connsiteY0" fmla="*/ 1190779 h 2381594"/>
              <a:gd name="connsiteX1" fmla="*/ 689374 w 2733384"/>
              <a:gd name="connsiteY1" fmla="*/ 0 h 2381594"/>
              <a:gd name="connsiteX2" fmla="*/ 2043288 w 2733384"/>
              <a:gd name="connsiteY2" fmla="*/ 15696 h 2381594"/>
              <a:gd name="connsiteX3" fmla="*/ 2733384 w 2733384"/>
              <a:gd name="connsiteY3" fmla="*/ 1188607 h 2381594"/>
              <a:gd name="connsiteX4" fmla="*/ 2058513 w 2733384"/>
              <a:gd name="connsiteY4" fmla="*/ 2381594 h 2381594"/>
              <a:gd name="connsiteX5" fmla="*/ 687045 w 2733384"/>
              <a:gd name="connsiteY5" fmla="*/ 2381328 h 2381594"/>
              <a:gd name="connsiteX6" fmla="*/ 0 w 2733384"/>
              <a:gd name="connsiteY6" fmla="*/ 1190779 h 2381594"/>
              <a:gd name="connsiteX0" fmla="*/ 0 w 2733384"/>
              <a:gd name="connsiteY0" fmla="*/ 1181080 h 2371895"/>
              <a:gd name="connsiteX1" fmla="*/ 681743 w 2733384"/>
              <a:gd name="connsiteY1" fmla="*/ 0 h 2371895"/>
              <a:gd name="connsiteX2" fmla="*/ 2043288 w 2733384"/>
              <a:gd name="connsiteY2" fmla="*/ 5997 h 2371895"/>
              <a:gd name="connsiteX3" fmla="*/ 2733384 w 2733384"/>
              <a:gd name="connsiteY3" fmla="*/ 1178908 h 2371895"/>
              <a:gd name="connsiteX4" fmla="*/ 2058513 w 2733384"/>
              <a:gd name="connsiteY4" fmla="*/ 2371895 h 2371895"/>
              <a:gd name="connsiteX5" fmla="*/ 687045 w 2733384"/>
              <a:gd name="connsiteY5" fmla="*/ 2371629 h 2371895"/>
              <a:gd name="connsiteX6" fmla="*/ 0 w 2733384"/>
              <a:gd name="connsiteY6" fmla="*/ 1181080 h 2371895"/>
              <a:gd name="connsiteX0" fmla="*/ 0 w 2733384"/>
              <a:gd name="connsiteY0" fmla="*/ 1182227 h 2373042"/>
              <a:gd name="connsiteX1" fmla="*/ 683728 w 2733384"/>
              <a:gd name="connsiteY1" fmla="*/ 0 h 2373042"/>
              <a:gd name="connsiteX2" fmla="*/ 2043288 w 2733384"/>
              <a:gd name="connsiteY2" fmla="*/ 7144 h 2373042"/>
              <a:gd name="connsiteX3" fmla="*/ 2733384 w 2733384"/>
              <a:gd name="connsiteY3" fmla="*/ 1180055 h 2373042"/>
              <a:gd name="connsiteX4" fmla="*/ 2058513 w 2733384"/>
              <a:gd name="connsiteY4" fmla="*/ 2373042 h 2373042"/>
              <a:gd name="connsiteX5" fmla="*/ 687045 w 2733384"/>
              <a:gd name="connsiteY5" fmla="*/ 2372776 h 2373042"/>
              <a:gd name="connsiteX6" fmla="*/ 0 w 2733384"/>
              <a:gd name="connsiteY6" fmla="*/ 1182227 h 2373042"/>
              <a:gd name="connsiteX0" fmla="*/ 0 w 2733384"/>
              <a:gd name="connsiteY0" fmla="*/ 1182227 h 2373042"/>
              <a:gd name="connsiteX1" fmla="*/ 683728 w 2733384"/>
              <a:gd name="connsiteY1" fmla="*/ 0 h 2373042"/>
              <a:gd name="connsiteX2" fmla="*/ 2043288 w 2733384"/>
              <a:gd name="connsiteY2" fmla="*/ 7144 h 2373042"/>
              <a:gd name="connsiteX3" fmla="*/ 2733384 w 2733384"/>
              <a:gd name="connsiteY3" fmla="*/ 1180055 h 2373042"/>
              <a:gd name="connsiteX4" fmla="*/ 2058513 w 2733384"/>
              <a:gd name="connsiteY4" fmla="*/ 2373042 h 2373042"/>
              <a:gd name="connsiteX5" fmla="*/ 687045 w 2733384"/>
              <a:gd name="connsiteY5" fmla="*/ 2372776 h 2373042"/>
              <a:gd name="connsiteX6" fmla="*/ 0 w 2733384"/>
              <a:gd name="connsiteY6" fmla="*/ 1182227 h 2373042"/>
              <a:gd name="connsiteX0" fmla="*/ 0 w 2733384"/>
              <a:gd name="connsiteY0" fmla="*/ 1184518 h 2375333"/>
              <a:gd name="connsiteX1" fmla="*/ 687697 w 2733384"/>
              <a:gd name="connsiteY1" fmla="*/ 0 h 2375333"/>
              <a:gd name="connsiteX2" fmla="*/ 2043288 w 2733384"/>
              <a:gd name="connsiteY2" fmla="*/ 9435 h 2375333"/>
              <a:gd name="connsiteX3" fmla="*/ 2733384 w 2733384"/>
              <a:gd name="connsiteY3" fmla="*/ 1182346 h 2375333"/>
              <a:gd name="connsiteX4" fmla="*/ 2058513 w 2733384"/>
              <a:gd name="connsiteY4" fmla="*/ 2375333 h 2375333"/>
              <a:gd name="connsiteX5" fmla="*/ 687045 w 2733384"/>
              <a:gd name="connsiteY5" fmla="*/ 2375067 h 2375333"/>
              <a:gd name="connsiteX6" fmla="*/ 0 w 2733384"/>
              <a:gd name="connsiteY6" fmla="*/ 1184518 h 2375333"/>
              <a:gd name="connsiteX0" fmla="*/ 0 w 2733384"/>
              <a:gd name="connsiteY0" fmla="*/ 1177950 h 2368765"/>
              <a:gd name="connsiteX1" fmla="*/ 680904 w 2733384"/>
              <a:gd name="connsiteY1" fmla="*/ 0 h 2368765"/>
              <a:gd name="connsiteX2" fmla="*/ 2043288 w 2733384"/>
              <a:gd name="connsiteY2" fmla="*/ 2867 h 2368765"/>
              <a:gd name="connsiteX3" fmla="*/ 2733384 w 2733384"/>
              <a:gd name="connsiteY3" fmla="*/ 1175778 h 2368765"/>
              <a:gd name="connsiteX4" fmla="*/ 2058513 w 2733384"/>
              <a:gd name="connsiteY4" fmla="*/ 2368765 h 2368765"/>
              <a:gd name="connsiteX5" fmla="*/ 687045 w 2733384"/>
              <a:gd name="connsiteY5" fmla="*/ 2368499 h 2368765"/>
              <a:gd name="connsiteX6" fmla="*/ 0 w 2733384"/>
              <a:gd name="connsiteY6" fmla="*/ 1177950 h 2368765"/>
              <a:gd name="connsiteX0" fmla="*/ 0 w 2733384"/>
              <a:gd name="connsiteY0" fmla="*/ 1181388 h 2372203"/>
              <a:gd name="connsiteX1" fmla="*/ 686858 w 2733384"/>
              <a:gd name="connsiteY1" fmla="*/ 0 h 2372203"/>
              <a:gd name="connsiteX2" fmla="*/ 2043288 w 2733384"/>
              <a:gd name="connsiteY2" fmla="*/ 6305 h 2372203"/>
              <a:gd name="connsiteX3" fmla="*/ 2733384 w 2733384"/>
              <a:gd name="connsiteY3" fmla="*/ 1179216 h 2372203"/>
              <a:gd name="connsiteX4" fmla="*/ 2058513 w 2733384"/>
              <a:gd name="connsiteY4" fmla="*/ 2372203 h 2372203"/>
              <a:gd name="connsiteX5" fmla="*/ 687045 w 2733384"/>
              <a:gd name="connsiteY5" fmla="*/ 2371937 h 2372203"/>
              <a:gd name="connsiteX6" fmla="*/ 0 w 2733384"/>
              <a:gd name="connsiteY6" fmla="*/ 1181388 h 2372203"/>
              <a:gd name="connsiteX0" fmla="*/ 0 w 2733384"/>
              <a:gd name="connsiteY0" fmla="*/ 1183022 h 2373837"/>
              <a:gd name="connsiteX1" fmla="*/ 686858 w 2733384"/>
              <a:gd name="connsiteY1" fmla="*/ 1634 h 2373837"/>
              <a:gd name="connsiteX2" fmla="*/ 2038705 w 2733384"/>
              <a:gd name="connsiteY2" fmla="*/ 0 h 2373837"/>
              <a:gd name="connsiteX3" fmla="*/ 2733384 w 2733384"/>
              <a:gd name="connsiteY3" fmla="*/ 1180850 h 2373837"/>
              <a:gd name="connsiteX4" fmla="*/ 2058513 w 2733384"/>
              <a:gd name="connsiteY4" fmla="*/ 2373837 h 2373837"/>
              <a:gd name="connsiteX5" fmla="*/ 687045 w 2733384"/>
              <a:gd name="connsiteY5" fmla="*/ 2373571 h 2373837"/>
              <a:gd name="connsiteX6" fmla="*/ 0 w 2733384"/>
              <a:gd name="connsiteY6" fmla="*/ 1183022 h 2373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3384" h="2373837">
                <a:moveTo>
                  <a:pt x="0" y="1183022"/>
                </a:moveTo>
                <a:lnTo>
                  <a:pt x="686858" y="1634"/>
                </a:lnTo>
                <a:lnTo>
                  <a:pt x="2038705" y="0"/>
                </a:lnTo>
                <a:lnTo>
                  <a:pt x="2733384" y="1180850"/>
                </a:lnTo>
                <a:lnTo>
                  <a:pt x="2058513" y="2373837"/>
                </a:lnTo>
                <a:lnTo>
                  <a:pt x="687045" y="2373571"/>
                </a:lnTo>
                <a:lnTo>
                  <a:pt x="0" y="1183022"/>
                </a:lnTo>
                <a:close/>
              </a:path>
            </a:pathLst>
          </a:custGeom>
          <a:noFill/>
          <a:ln w="168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reak the Real-World </a:t>
            </a:r>
            <a:r>
              <a:rPr lang="en-US" dirty="0">
                <a:solidFill>
                  <a:srgbClr val="00B0F0"/>
                </a:solidFill>
              </a:rPr>
              <a:t>Object</a:t>
            </a:r>
            <a:r>
              <a:rPr lang="en-US" dirty="0"/>
              <a:t> into </a:t>
            </a:r>
            <a:r>
              <a:rPr lang="en-US" dirty="0">
                <a:solidFill>
                  <a:srgbClr val="00B0F0"/>
                </a:solidFill>
              </a:rPr>
              <a:t>Entities</a:t>
            </a:r>
            <a:br>
              <a:rPr lang="en-US" dirty="0"/>
            </a:br>
            <a:r>
              <a:rPr lang="en-US" dirty="0"/>
              <a:t>(Each “Entity” is from a different </a:t>
            </a:r>
            <a:r>
              <a:rPr lang="en-US" dirty="0">
                <a:solidFill>
                  <a:srgbClr val="00B0F0"/>
                </a:solidFill>
              </a:rPr>
              <a:t>Modeling Perspective</a:t>
            </a:r>
            <a:r>
              <a:rPr lang="en-US" dirty="0"/>
              <a:t>)</a:t>
            </a: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F877652C-848D-450E-8D49-8CA19CBC5410}"/>
              </a:ext>
            </a:extLst>
          </p:cNvPr>
          <p:cNvSpPr/>
          <p:nvPr/>
        </p:nvSpPr>
        <p:spPr>
          <a:xfrm>
            <a:off x="1104231" y="3124733"/>
            <a:ext cx="2539313" cy="586946"/>
          </a:xfrm>
          <a:prstGeom prst="wedgeRoundRectCallout">
            <a:avLst>
              <a:gd name="adj1" fmla="val 99930"/>
              <a:gd name="adj2" fmla="val 31974"/>
              <a:gd name="adj3" fmla="val 1666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object’s role in a functional system</a:t>
            </a:r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B0DD3477-0E83-47E1-818D-5CA9A4CAD637}"/>
              </a:ext>
            </a:extLst>
          </p:cNvPr>
          <p:cNvSpPr/>
          <p:nvPr/>
        </p:nvSpPr>
        <p:spPr>
          <a:xfrm>
            <a:off x="1099074" y="2132748"/>
            <a:ext cx="3392691" cy="586946"/>
          </a:xfrm>
          <a:prstGeom prst="wedgeRoundRectCallout">
            <a:avLst>
              <a:gd name="adj1" fmla="val 73519"/>
              <a:gd name="adj2" fmla="val 53446"/>
              <a:gd name="adj3" fmla="val 1666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physical form and business meaning of the object</a:t>
            </a:r>
          </a:p>
        </p:txBody>
      </p:sp>
      <p:sp>
        <p:nvSpPr>
          <p:cNvPr id="16" name="Speech Bubble: Rectangle with Corners Rounded 15">
            <a:extLst>
              <a:ext uri="{FF2B5EF4-FFF2-40B4-BE49-F238E27FC236}">
                <a16:creationId xmlns:a16="http://schemas.microsoft.com/office/drawing/2014/main" id="{2900228B-34E0-4779-8CE9-71EEE7AB9612}"/>
              </a:ext>
            </a:extLst>
          </p:cNvPr>
          <p:cNvSpPr/>
          <p:nvPr/>
        </p:nvSpPr>
        <p:spPr>
          <a:xfrm>
            <a:off x="7448815" y="2881951"/>
            <a:ext cx="3136968" cy="998630"/>
          </a:xfrm>
          <a:prstGeom prst="wedgeRoundRectCallout">
            <a:avLst>
              <a:gd name="adj1" fmla="val -71246"/>
              <a:gd name="adj2" fmla="val 13036"/>
              <a:gd name="adj3" fmla="val 1666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object’s role in a some other system or an alternate understanding of the object</a:t>
            </a:r>
          </a:p>
        </p:txBody>
      </p:sp>
      <p:sp>
        <p:nvSpPr>
          <p:cNvPr id="31" name="Speech Bubble: Rectangle with Corners Rounded 30">
            <a:extLst>
              <a:ext uri="{FF2B5EF4-FFF2-40B4-BE49-F238E27FC236}">
                <a16:creationId xmlns:a16="http://schemas.microsoft.com/office/drawing/2014/main" id="{3927BC46-E75D-4FDD-BC90-C48114E8EB80}"/>
              </a:ext>
            </a:extLst>
          </p:cNvPr>
          <p:cNvSpPr/>
          <p:nvPr/>
        </p:nvSpPr>
        <p:spPr>
          <a:xfrm>
            <a:off x="6481058" y="1544966"/>
            <a:ext cx="2539313" cy="586946"/>
          </a:xfrm>
          <a:prstGeom prst="wedgeRoundRectCallout">
            <a:avLst>
              <a:gd name="adj1" fmla="val -61422"/>
              <a:gd name="adj2" fmla="val 54318"/>
              <a:gd name="adj3" fmla="val 1666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</a:t>
            </a:r>
            <a:r>
              <a:rPr lang="en-US" b="1" dirty="0">
                <a:solidFill>
                  <a:schemeClr val="tx1"/>
                </a:solidFill>
              </a:rPr>
              <a:t>Physical Object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as-a-whole</a:t>
            </a:r>
          </a:p>
        </p:txBody>
      </p:sp>
    </p:spTree>
    <p:extLst>
      <p:ext uri="{BB962C8B-B14F-4D97-AF65-F5344CB8AC3E}">
        <p14:creationId xmlns:p14="http://schemas.microsoft.com/office/powerpoint/2010/main" val="360405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Physical Hierarchy Stereotypes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F58CFE6E-0C9D-4E8A-81CB-C4F4BF7649F1}"/>
              </a:ext>
            </a:extLst>
          </p:cNvPr>
          <p:cNvSpPr/>
          <p:nvPr/>
        </p:nvSpPr>
        <p:spPr>
          <a:xfrm>
            <a:off x="5420444" y="1536569"/>
            <a:ext cx="5731469" cy="3948531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70D0571-CA6C-4285-9978-A495A398B16D}"/>
              </a:ext>
            </a:extLst>
          </p:cNvPr>
          <p:cNvSpPr/>
          <p:nvPr/>
        </p:nvSpPr>
        <p:spPr>
          <a:xfrm>
            <a:off x="5698542" y="2648273"/>
            <a:ext cx="5368530" cy="267315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B352C25-FC12-436A-940A-B1ECAA45DB9B}"/>
              </a:ext>
            </a:extLst>
          </p:cNvPr>
          <p:cNvSpPr txBox="1"/>
          <p:nvPr/>
        </p:nvSpPr>
        <p:spPr>
          <a:xfrm>
            <a:off x="6519589" y="1103693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E34BE3D-DBFA-4A01-BD96-A8594D08B36E}"/>
              </a:ext>
            </a:extLst>
          </p:cNvPr>
          <p:cNvGrpSpPr/>
          <p:nvPr/>
        </p:nvGrpSpPr>
        <p:grpSpPr>
          <a:xfrm>
            <a:off x="7438942" y="2404838"/>
            <a:ext cx="867032" cy="501921"/>
            <a:chOff x="2632334" y="2018331"/>
            <a:chExt cx="867032" cy="501921"/>
          </a:xfrm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9131E13-8E6B-41FD-88EB-F89D236F62D0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33E087C7-1183-4874-A349-42EEAA34A567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03CB57C-C50B-4A32-8E70-C6B2937F9AEF}"/>
              </a:ext>
            </a:extLst>
          </p:cNvPr>
          <p:cNvGrpSpPr/>
          <p:nvPr/>
        </p:nvGrpSpPr>
        <p:grpSpPr>
          <a:xfrm>
            <a:off x="6244732" y="1283007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98658CA-291E-4941-A956-9E630D6D84C9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EC56F11-A87B-4CC2-AD4D-6D5AAD3C485D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078B35B0-6BDD-43F7-B157-68EAD61468DE}"/>
              </a:ext>
            </a:extLst>
          </p:cNvPr>
          <p:cNvSpPr/>
          <p:nvPr/>
        </p:nvSpPr>
        <p:spPr>
          <a:xfrm>
            <a:off x="5828502" y="3704974"/>
            <a:ext cx="5119792" cy="1437243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0E60D90-2F24-448E-B4D1-F64934AEDE0C}"/>
              </a:ext>
            </a:extLst>
          </p:cNvPr>
          <p:cNvGrpSpPr/>
          <p:nvPr/>
        </p:nvGrpSpPr>
        <p:grpSpPr>
          <a:xfrm>
            <a:off x="8551610" y="3458208"/>
            <a:ext cx="867032" cy="501921"/>
            <a:chOff x="8144873" y="2723071"/>
            <a:chExt cx="867032" cy="501921"/>
          </a:xfrm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72C9168-11D8-45DA-A9E3-AC6F586DF392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B6B9E58-1448-476F-8AB1-22B9A13309E3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0684432-06D7-406F-A8C9-81176B34BE5F}"/>
              </a:ext>
            </a:extLst>
          </p:cNvPr>
          <p:cNvGrpSpPr/>
          <p:nvPr/>
        </p:nvGrpSpPr>
        <p:grpSpPr>
          <a:xfrm>
            <a:off x="6140914" y="4138379"/>
            <a:ext cx="1074668" cy="607647"/>
            <a:chOff x="2399494" y="3441340"/>
            <a:chExt cx="976549" cy="552168"/>
          </a:xfrm>
          <a:solidFill>
            <a:srgbClr val="C00000"/>
          </a:solidFill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6E771E8-37A2-4A89-BDDE-A13F41E1202D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864CF5E-B9E1-478A-9599-5B85086D50AF}"/>
                </a:ext>
              </a:extLst>
            </p:cNvPr>
            <p:cNvSpPr txBox="1"/>
            <p:nvPr/>
          </p:nvSpPr>
          <p:spPr>
            <a:xfrm>
              <a:off x="2399494" y="3498866"/>
              <a:ext cx="9765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239505F-03B5-49F8-B547-EDB5963C5904}"/>
              </a:ext>
            </a:extLst>
          </p:cNvPr>
          <p:cNvGrpSpPr/>
          <p:nvPr/>
        </p:nvGrpSpPr>
        <p:grpSpPr>
          <a:xfrm>
            <a:off x="6244732" y="1960315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3C68F3-087A-4619-8395-6DD6B4DE8F25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DB96A20-EAD2-42B9-9E93-0AFD94F1C752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D173835-D9F2-4F87-B767-107475B02FA5}"/>
              </a:ext>
            </a:extLst>
          </p:cNvPr>
          <p:cNvGrpSpPr/>
          <p:nvPr/>
        </p:nvGrpSpPr>
        <p:grpSpPr>
          <a:xfrm>
            <a:off x="9654791" y="4138379"/>
            <a:ext cx="1049665" cy="607647"/>
            <a:chOff x="2410853" y="3441340"/>
            <a:chExt cx="953829" cy="552168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9011727-99DD-4549-AFC3-1CC858DF95F1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5362726-B961-4E08-A70D-C381381A5269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5642D19-FBF8-4FE5-BF91-367CB768FCA0}"/>
              </a:ext>
            </a:extLst>
          </p:cNvPr>
          <p:cNvGrpSpPr/>
          <p:nvPr/>
        </p:nvGrpSpPr>
        <p:grpSpPr>
          <a:xfrm>
            <a:off x="8551610" y="1960315"/>
            <a:ext cx="867032" cy="501921"/>
            <a:chOff x="8144873" y="2723071"/>
            <a:chExt cx="867032" cy="501921"/>
          </a:xfrm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577BF5D-A6DD-4035-AD61-A1C1FDEB6766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0A875256-B1E3-435E-845D-1734D6AFF0B5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353AFA8-C2E3-4D8E-9C71-47FEE22D841B}"/>
              </a:ext>
            </a:extLst>
          </p:cNvPr>
          <p:cNvGrpSpPr/>
          <p:nvPr/>
        </p:nvGrpSpPr>
        <p:grpSpPr>
          <a:xfrm>
            <a:off x="9654791" y="1907452"/>
            <a:ext cx="1049665" cy="607647"/>
            <a:chOff x="2410853" y="3441340"/>
            <a:chExt cx="953829" cy="552168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77FEAE4-B02E-4599-847D-65EC2B1E5AE9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0A5267E2-D64B-4BFD-846A-CD93F46F5872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889B85FE-25F3-40E2-B667-0D20B434216B}"/>
              </a:ext>
            </a:extLst>
          </p:cNvPr>
          <p:cNvGrpSpPr/>
          <p:nvPr/>
        </p:nvGrpSpPr>
        <p:grpSpPr>
          <a:xfrm>
            <a:off x="7438942" y="3075423"/>
            <a:ext cx="867032" cy="501921"/>
            <a:chOff x="2632334" y="2018331"/>
            <a:chExt cx="867032" cy="501921"/>
          </a:xfrm>
        </p:grpSpPr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7DC8DB0-DCA4-421F-81A9-833F60E165F6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649F3C2-D5DE-4842-AFE1-D497E1D225BE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DED8B21D-B96E-434B-B321-AB2DA5632F7F}"/>
              </a:ext>
            </a:extLst>
          </p:cNvPr>
          <p:cNvGrpSpPr/>
          <p:nvPr/>
        </p:nvGrpSpPr>
        <p:grpSpPr>
          <a:xfrm>
            <a:off x="9654791" y="3022560"/>
            <a:ext cx="1049665" cy="607647"/>
            <a:chOff x="2410853" y="3441340"/>
            <a:chExt cx="953829" cy="552168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D0003923-B76D-42E4-B040-31E82DEC130A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883C8EF-EA15-42CF-BB23-6FB1048AA94D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D3852FB-1BAF-404D-9EEF-DD02966A20D7}"/>
              </a:ext>
            </a:extLst>
          </p:cNvPr>
          <p:cNvGrpSpPr/>
          <p:nvPr/>
        </p:nvGrpSpPr>
        <p:grpSpPr>
          <a:xfrm>
            <a:off x="7438942" y="4191242"/>
            <a:ext cx="867032" cy="501921"/>
            <a:chOff x="2632334" y="2018331"/>
            <a:chExt cx="867032" cy="501921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8D83A18-7B2D-4D41-B58B-87B4E925F2F7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3058611-2AD6-4FE0-BDF6-80C59760B020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BCE204D-9B0C-498E-AA05-38EC70B8F941}"/>
              </a:ext>
            </a:extLst>
          </p:cNvPr>
          <p:cNvGrpSpPr/>
          <p:nvPr/>
        </p:nvGrpSpPr>
        <p:grpSpPr>
          <a:xfrm>
            <a:off x="8551610" y="4191242"/>
            <a:ext cx="867032" cy="501921"/>
            <a:chOff x="8144873" y="2723071"/>
            <a:chExt cx="867032" cy="501921"/>
          </a:xfrm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EBFC6558-66A1-4EC7-AA6A-874547FE491A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ECD7E2C-2B43-4598-8B39-8EA5A3C3259E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6895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143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E3C534D-808E-4BC7-AF66-F61C84971478}"/>
              </a:ext>
            </a:extLst>
          </p:cNvPr>
          <p:cNvSpPr/>
          <p:nvPr/>
        </p:nvSpPr>
        <p:spPr>
          <a:xfrm>
            <a:off x="6927506" y="1536569"/>
            <a:ext cx="4224407" cy="4590854"/>
          </a:xfrm>
          <a:prstGeom prst="roundRect">
            <a:avLst>
              <a:gd name="adj" fmla="val 12417"/>
            </a:avLst>
          </a:prstGeom>
          <a:noFill/>
          <a:ln w="285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61380AD-52E2-46CC-B290-299E6A288F6F}"/>
              </a:ext>
            </a:extLst>
          </p:cNvPr>
          <p:cNvSpPr/>
          <p:nvPr/>
        </p:nvSpPr>
        <p:spPr>
          <a:xfrm>
            <a:off x="7013541" y="2648272"/>
            <a:ext cx="3956901" cy="3281187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15669D5-15C3-4705-A0AA-5C34C60137A9}"/>
              </a:ext>
            </a:extLst>
          </p:cNvPr>
          <p:cNvSpPr/>
          <p:nvPr/>
        </p:nvSpPr>
        <p:spPr>
          <a:xfrm>
            <a:off x="7138206" y="3704974"/>
            <a:ext cx="3569291" cy="2067269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D76CED-D1A1-4A6F-908D-4A1E1AABE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3D4070-537E-4201-B68F-E0EB3DAEEE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4503" y="3274041"/>
            <a:ext cx="1981372" cy="10973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B6B8852-65A4-443F-B988-C40ECC9993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4179" y="3633712"/>
            <a:ext cx="1135478" cy="1478408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EBE3EC3-51A4-4922-AA9C-1535D78E4408}"/>
              </a:ext>
            </a:extLst>
          </p:cNvPr>
          <p:cNvSpPr/>
          <p:nvPr/>
        </p:nvSpPr>
        <p:spPr>
          <a:xfrm>
            <a:off x="7682863" y="1289864"/>
            <a:ext cx="1206631" cy="4996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mplex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60EF607-E4A6-47AB-9E84-A02899590C63}"/>
              </a:ext>
            </a:extLst>
          </p:cNvPr>
          <p:cNvSpPr/>
          <p:nvPr/>
        </p:nvSpPr>
        <p:spPr>
          <a:xfrm>
            <a:off x="7682863" y="2427192"/>
            <a:ext cx="1206631" cy="4996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tity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82276BD-D1A1-4745-95B5-4232D9C36B84}"/>
              </a:ext>
            </a:extLst>
          </p:cNvPr>
          <p:cNvSpPr/>
          <p:nvPr/>
        </p:nvSpPr>
        <p:spPr>
          <a:xfrm>
            <a:off x="7682863" y="3455163"/>
            <a:ext cx="1206631" cy="4996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lement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026ED18-FE03-422E-A6E6-3A188661069B}"/>
              </a:ext>
            </a:extLst>
          </p:cNvPr>
          <p:cNvSpPr/>
          <p:nvPr/>
        </p:nvSpPr>
        <p:spPr>
          <a:xfrm>
            <a:off x="9332554" y="2935416"/>
            <a:ext cx="1206631" cy="4996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ace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311E6C0-E670-4DA8-9E6C-1767E2B172C3}"/>
              </a:ext>
            </a:extLst>
          </p:cNvPr>
          <p:cNvSpPr/>
          <p:nvPr/>
        </p:nvSpPr>
        <p:spPr>
          <a:xfrm>
            <a:off x="7441004" y="4343466"/>
            <a:ext cx="2627828" cy="1339745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C428777-8D35-4142-B845-E2D9FA4A83F0}"/>
              </a:ext>
            </a:extLst>
          </p:cNvPr>
          <p:cNvSpPr/>
          <p:nvPr/>
        </p:nvSpPr>
        <p:spPr>
          <a:xfrm>
            <a:off x="7682863" y="4093656"/>
            <a:ext cx="1206631" cy="4996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ystem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681DE99-DE61-434E-A4A1-1AAD52E06E5B}"/>
              </a:ext>
            </a:extLst>
          </p:cNvPr>
          <p:cNvSpPr/>
          <p:nvPr/>
        </p:nvSpPr>
        <p:spPr>
          <a:xfrm>
            <a:off x="7682863" y="4891246"/>
            <a:ext cx="1206631" cy="4996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uc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C86A7C5-1A52-4D05-BE2D-F2833FE3470B}"/>
              </a:ext>
            </a:extLst>
          </p:cNvPr>
          <p:cNvSpPr/>
          <p:nvPr/>
        </p:nvSpPr>
        <p:spPr>
          <a:xfrm>
            <a:off x="3163279" y="237744"/>
            <a:ext cx="4903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4"/>
              </a:rPr>
              <a:t>https://toolkit.thenbs.com/articles/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20761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Physical Hierarchy Stereotypes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F58CFE6E-0C9D-4E8A-81CB-C4F4BF7649F1}"/>
              </a:ext>
            </a:extLst>
          </p:cNvPr>
          <p:cNvSpPr/>
          <p:nvPr/>
        </p:nvSpPr>
        <p:spPr>
          <a:xfrm>
            <a:off x="5420444" y="1536569"/>
            <a:ext cx="5731469" cy="3948531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70D0571-CA6C-4285-9978-A495A398B16D}"/>
              </a:ext>
            </a:extLst>
          </p:cNvPr>
          <p:cNvSpPr/>
          <p:nvPr/>
        </p:nvSpPr>
        <p:spPr>
          <a:xfrm>
            <a:off x="5698542" y="2648273"/>
            <a:ext cx="5368530" cy="267315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B352C25-FC12-436A-940A-B1ECAA45DB9B}"/>
              </a:ext>
            </a:extLst>
          </p:cNvPr>
          <p:cNvSpPr txBox="1"/>
          <p:nvPr/>
        </p:nvSpPr>
        <p:spPr>
          <a:xfrm>
            <a:off x="6519589" y="1103693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E34BE3D-DBFA-4A01-BD96-A8594D08B36E}"/>
              </a:ext>
            </a:extLst>
          </p:cNvPr>
          <p:cNvGrpSpPr/>
          <p:nvPr/>
        </p:nvGrpSpPr>
        <p:grpSpPr>
          <a:xfrm>
            <a:off x="7438942" y="2404838"/>
            <a:ext cx="867032" cy="501921"/>
            <a:chOff x="2632334" y="2018331"/>
            <a:chExt cx="867032" cy="501921"/>
          </a:xfrm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9131E13-8E6B-41FD-88EB-F89D236F62D0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33E087C7-1183-4874-A349-42EEAA34A567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03CB57C-C50B-4A32-8E70-C6B2937F9AEF}"/>
              </a:ext>
            </a:extLst>
          </p:cNvPr>
          <p:cNvGrpSpPr/>
          <p:nvPr/>
        </p:nvGrpSpPr>
        <p:grpSpPr>
          <a:xfrm>
            <a:off x="6244732" y="1283007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98658CA-291E-4941-A956-9E630D6D84C9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EC56F11-A87B-4CC2-AD4D-6D5AAD3C485D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078B35B0-6BDD-43F7-B157-68EAD61468DE}"/>
              </a:ext>
            </a:extLst>
          </p:cNvPr>
          <p:cNvSpPr/>
          <p:nvPr/>
        </p:nvSpPr>
        <p:spPr>
          <a:xfrm>
            <a:off x="5828502" y="3704974"/>
            <a:ext cx="5119792" cy="1437243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0E60D90-2F24-448E-B4D1-F64934AEDE0C}"/>
              </a:ext>
            </a:extLst>
          </p:cNvPr>
          <p:cNvGrpSpPr/>
          <p:nvPr/>
        </p:nvGrpSpPr>
        <p:grpSpPr>
          <a:xfrm>
            <a:off x="8551610" y="3458208"/>
            <a:ext cx="867032" cy="501921"/>
            <a:chOff x="8144873" y="2723071"/>
            <a:chExt cx="867032" cy="501921"/>
          </a:xfrm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72C9168-11D8-45DA-A9E3-AC6F586DF392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B6B9E58-1448-476F-8AB1-22B9A13309E3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0684432-06D7-406F-A8C9-81176B34BE5F}"/>
              </a:ext>
            </a:extLst>
          </p:cNvPr>
          <p:cNvGrpSpPr/>
          <p:nvPr/>
        </p:nvGrpSpPr>
        <p:grpSpPr>
          <a:xfrm>
            <a:off x="6140914" y="4138379"/>
            <a:ext cx="1074668" cy="607647"/>
            <a:chOff x="2399494" y="3441340"/>
            <a:chExt cx="976549" cy="552168"/>
          </a:xfrm>
          <a:solidFill>
            <a:srgbClr val="C00000"/>
          </a:solidFill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6E771E8-37A2-4A89-BDDE-A13F41E1202D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864CF5E-B9E1-478A-9599-5B85086D50AF}"/>
                </a:ext>
              </a:extLst>
            </p:cNvPr>
            <p:cNvSpPr txBox="1"/>
            <p:nvPr/>
          </p:nvSpPr>
          <p:spPr>
            <a:xfrm>
              <a:off x="2399494" y="3498866"/>
              <a:ext cx="9765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239505F-03B5-49F8-B547-EDB5963C5904}"/>
              </a:ext>
            </a:extLst>
          </p:cNvPr>
          <p:cNvGrpSpPr/>
          <p:nvPr/>
        </p:nvGrpSpPr>
        <p:grpSpPr>
          <a:xfrm>
            <a:off x="6244732" y="1960315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3C68F3-087A-4619-8395-6DD6B4DE8F25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DB96A20-EAD2-42B9-9E93-0AFD94F1C752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D173835-D9F2-4F87-B767-107475B02FA5}"/>
              </a:ext>
            </a:extLst>
          </p:cNvPr>
          <p:cNvGrpSpPr/>
          <p:nvPr/>
        </p:nvGrpSpPr>
        <p:grpSpPr>
          <a:xfrm>
            <a:off x="9654791" y="4138379"/>
            <a:ext cx="1049665" cy="607647"/>
            <a:chOff x="2410853" y="3441340"/>
            <a:chExt cx="953829" cy="552168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9011727-99DD-4549-AFC3-1CC858DF95F1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5362726-B961-4E08-A70D-C381381A5269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5642D19-FBF8-4FE5-BF91-367CB768FCA0}"/>
              </a:ext>
            </a:extLst>
          </p:cNvPr>
          <p:cNvGrpSpPr/>
          <p:nvPr/>
        </p:nvGrpSpPr>
        <p:grpSpPr>
          <a:xfrm>
            <a:off x="8551610" y="1960315"/>
            <a:ext cx="867032" cy="501921"/>
            <a:chOff x="8144873" y="2723071"/>
            <a:chExt cx="867032" cy="501921"/>
          </a:xfrm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577BF5D-A6DD-4035-AD61-A1C1FDEB6766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0A875256-B1E3-435E-845D-1734D6AFF0B5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353AFA8-C2E3-4D8E-9C71-47FEE22D841B}"/>
              </a:ext>
            </a:extLst>
          </p:cNvPr>
          <p:cNvGrpSpPr/>
          <p:nvPr/>
        </p:nvGrpSpPr>
        <p:grpSpPr>
          <a:xfrm>
            <a:off x="9654791" y="1907452"/>
            <a:ext cx="1049665" cy="607647"/>
            <a:chOff x="2410853" y="3441340"/>
            <a:chExt cx="953829" cy="552168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77FEAE4-B02E-4599-847D-65EC2B1E5AE9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0A5267E2-D64B-4BFD-846A-CD93F46F5872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889B85FE-25F3-40E2-B667-0D20B434216B}"/>
              </a:ext>
            </a:extLst>
          </p:cNvPr>
          <p:cNvGrpSpPr/>
          <p:nvPr/>
        </p:nvGrpSpPr>
        <p:grpSpPr>
          <a:xfrm>
            <a:off x="7438942" y="3075423"/>
            <a:ext cx="867032" cy="501921"/>
            <a:chOff x="2632334" y="2018331"/>
            <a:chExt cx="867032" cy="501921"/>
          </a:xfrm>
        </p:grpSpPr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7DC8DB0-DCA4-421F-81A9-833F60E165F6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649F3C2-D5DE-4842-AFE1-D497E1D225BE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DED8B21D-B96E-434B-B321-AB2DA5632F7F}"/>
              </a:ext>
            </a:extLst>
          </p:cNvPr>
          <p:cNvGrpSpPr/>
          <p:nvPr/>
        </p:nvGrpSpPr>
        <p:grpSpPr>
          <a:xfrm>
            <a:off x="9654791" y="3022560"/>
            <a:ext cx="1049665" cy="607647"/>
            <a:chOff x="2410853" y="3441340"/>
            <a:chExt cx="953829" cy="552168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D0003923-B76D-42E4-B040-31E82DEC130A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883C8EF-EA15-42CF-BB23-6FB1048AA94D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D3852FB-1BAF-404D-9EEF-DD02966A20D7}"/>
              </a:ext>
            </a:extLst>
          </p:cNvPr>
          <p:cNvGrpSpPr/>
          <p:nvPr/>
        </p:nvGrpSpPr>
        <p:grpSpPr>
          <a:xfrm>
            <a:off x="7438942" y="4191242"/>
            <a:ext cx="867032" cy="501921"/>
            <a:chOff x="2632334" y="2018331"/>
            <a:chExt cx="867032" cy="501921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8D83A18-7B2D-4D41-B58B-87B4E925F2F7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3058611-2AD6-4FE0-BDF6-80C59760B020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BCE204D-9B0C-498E-AA05-38EC70B8F941}"/>
              </a:ext>
            </a:extLst>
          </p:cNvPr>
          <p:cNvGrpSpPr/>
          <p:nvPr/>
        </p:nvGrpSpPr>
        <p:grpSpPr>
          <a:xfrm>
            <a:off x="8551610" y="4191242"/>
            <a:ext cx="867032" cy="501921"/>
            <a:chOff x="8144873" y="2723071"/>
            <a:chExt cx="867032" cy="501921"/>
          </a:xfrm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EBFC6558-66A1-4EC7-AA6A-874547FE491A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ECD7E2C-2B43-4598-8B39-8EA5A3C3259E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C763E6B2-399C-4860-BD4E-620D912E40B8}"/>
              </a:ext>
            </a:extLst>
          </p:cNvPr>
          <p:cNvSpPr/>
          <p:nvPr/>
        </p:nvSpPr>
        <p:spPr>
          <a:xfrm>
            <a:off x="358220" y="1506594"/>
            <a:ext cx="3599974" cy="4033045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9F3DACB-7C25-4DC8-B8FD-04D1B982473B}"/>
              </a:ext>
            </a:extLst>
          </p:cNvPr>
          <p:cNvSpPr/>
          <p:nvPr/>
        </p:nvSpPr>
        <p:spPr>
          <a:xfrm>
            <a:off x="479858" y="2483220"/>
            <a:ext cx="3303442" cy="288250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BC23949B-13FB-40E5-A111-099C4D0F6124}"/>
              </a:ext>
            </a:extLst>
          </p:cNvPr>
          <p:cNvSpPr/>
          <p:nvPr/>
        </p:nvSpPr>
        <p:spPr>
          <a:xfrm>
            <a:off x="589376" y="3411528"/>
            <a:ext cx="2644018" cy="1816087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DAF4197E-0F3B-47EB-A0B5-7EFDB608EAE2}"/>
              </a:ext>
            </a:extLst>
          </p:cNvPr>
          <p:cNvSpPr/>
          <p:nvPr/>
        </p:nvSpPr>
        <p:spPr>
          <a:xfrm>
            <a:off x="1067855" y="1289865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lex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2526C5FD-5F7B-4311-9F1E-4CDCF2774F07}"/>
              </a:ext>
            </a:extLst>
          </p:cNvPr>
          <p:cNvSpPr/>
          <p:nvPr/>
        </p:nvSpPr>
        <p:spPr>
          <a:xfrm>
            <a:off x="1067855" y="2289003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ntity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B5A8940C-BFC9-4B20-95B2-9E0C4F7894CE}"/>
              </a:ext>
            </a:extLst>
          </p:cNvPr>
          <p:cNvSpPr/>
          <p:nvPr/>
        </p:nvSpPr>
        <p:spPr>
          <a:xfrm>
            <a:off x="1067855" y="3192071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D89D3ED-1866-412A-A812-825B4363EA97}"/>
              </a:ext>
            </a:extLst>
          </p:cNvPr>
          <p:cNvSpPr/>
          <p:nvPr/>
        </p:nvSpPr>
        <p:spPr>
          <a:xfrm>
            <a:off x="2517101" y="2735475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874ACD31-D717-4645-A259-5536F01DA8A3}"/>
              </a:ext>
            </a:extLst>
          </p:cNvPr>
          <p:cNvSpPr/>
          <p:nvPr/>
        </p:nvSpPr>
        <p:spPr>
          <a:xfrm>
            <a:off x="751687" y="3972441"/>
            <a:ext cx="2308535" cy="1176960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2858E171-CF56-432E-A755-A5B5B8338A06}"/>
              </a:ext>
            </a:extLst>
          </p:cNvPr>
          <p:cNvSpPr/>
          <p:nvPr/>
        </p:nvSpPr>
        <p:spPr>
          <a:xfrm>
            <a:off x="1067855" y="3752984"/>
            <a:ext cx="1060020" cy="438915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58FD582E-B305-4C1A-AE6B-AA634F6FC48E}"/>
              </a:ext>
            </a:extLst>
          </p:cNvPr>
          <p:cNvSpPr/>
          <p:nvPr/>
        </p:nvSpPr>
        <p:spPr>
          <a:xfrm>
            <a:off x="1067855" y="4453663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4A8A15-02F3-4672-958F-57AE1B63BDE3}"/>
              </a:ext>
            </a:extLst>
          </p:cNvPr>
          <p:cNvSpPr txBox="1"/>
          <p:nvPr/>
        </p:nvSpPr>
        <p:spPr>
          <a:xfrm>
            <a:off x="7612460" y="930695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BI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3F81FDE-5F94-4EDC-9A76-1A6DCD8528E4}"/>
              </a:ext>
            </a:extLst>
          </p:cNvPr>
          <p:cNvSpPr txBox="1"/>
          <p:nvPr/>
        </p:nvSpPr>
        <p:spPr>
          <a:xfrm>
            <a:off x="751687" y="743368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UNICLASS</a:t>
            </a:r>
          </a:p>
        </p:txBody>
      </p:sp>
    </p:spTree>
    <p:extLst>
      <p:ext uri="{BB962C8B-B14F-4D97-AF65-F5344CB8AC3E}">
        <p14:creationId xmlns:p14="http://schemas.microsoft.com/office/powerpoint/2010/main" val="19675025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143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Physical Hierarchy Stereotypes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F58CFE6E-0C9D-4E8A-81CB-C4F4BF7649F1}"/>
              </a:ext>
            </a:extLst>
          </p:cNvPr>
          <p:cNvSpPr/>
          <p:nvPr/>
        </p:nvSpPr>
        <p:spPr>
          <a:xfrm>
            <a:off x="4157236" y="1536569"/>
            <a:ext cx="7854725" cy="3948531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70D0571-CA6C-4285-9978-A495A398B16D}"/>
              </a:ext>
            </a:extLst>
          </p:cNvPr>
          <p:cNvSpPr/>
          <p:nvPr/>
        </p:nvSpPr>
        <p:spPr>
          <a:xfrm>
            <a:off x="4383478" y="2648273"/>
            <a:ext cx="7456603" cy="267315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B352C25-FC12-436A-940A-B1ECAA45DB9B}"/>
              </a:ext>
            </a:extLst>
          </p:cNvPr>
          <p:cNvSpPr txBox="1"/>
          <p:nvPr/>
        </p:nvSpPr>
        <p:spPr>
          <a:xfrm>
            <a:off x="5133858" y="1103693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E34BE3D-DBFA-4A01-BD96-A8594D08B36E}"/>
              </a:ext>
            </a:extLst>
          </p:cNvPr>
          <p:cNvGrpSpPr/>
          <p:nvPr/>
        </p:nvGrpSpPr>
        <p:grpSpPr>
          <a:xfrm>
            <a:off x="6053211" y="2404838"/>
            <a:ext cx="867032" cy="501921"/>
            <a:chOff x="2632334" y="2018331"/>
            <a:chExt cx="867032" cy="501921"/>
          </a:xfrm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9131E13-8E6B-41FD-88EB-F89D236F62D0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33E087C7-1183-4874-A349-42EEAA34A567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03CB57C-C50B-4A32-8E70-C6B2937F9AEF}"/>
              </a:ext>
            </a:extLst>
          </p:cNvPr>
          <p:cNvGrpSpPr/>
          <p:nvPr/>
        </p:nvGrpSpPr>
        <p:grpSpPr>
          <a:xfrm>
            <a:off x="4859001" y="1283007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98658CA-291E-4941-A956-9E630D6D84C9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EC56F11-A87B-4CC2-AD4D-6D5AAD3C485D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078B35B0-6BDD-43F7-B157-68EAD61468DE}"/>
              </a:ext>
            </a:extLst>
          </p:cNvPr>
          <p:cNvSpPr/>
          <p:nvPr/>
        </p:nvSpPr>
        <p:spPr>
          <a:xfrm>
            <a:off x="4577113" y="3704974"/>
            <a:ext cx="4943968" cy="1437243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0E60D90-2F24-448E-B4D1-F64934AEDE0C}"/>
              </a:ext>
            </a:extLst>
          </p:cNvPr>
          <p:cNvGrpSpPr/>
          <p:nvPr/>
        </p:nvGrpSpPr>
        <p:grpSpPr>
          <a:xfrm>
            <a:off x="7184728" y="3457142"/>
            <a:ext cx="867032" cy="501921"/>
            <a:chOff x="8144873" y="2723071"/>
            <a:chExt cx="867032" cy="501921"/>
          </a:xfrm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72C9168-11D8-45DA-A9E3-AC6F586DF392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B6B9E58-1448-476F-8AB1-22B9A13309E3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0684432-06D7-406F-A8C9-81176B34BE5F}"/>
              </a:ext>
            </a:extLst>
          </p:cNvPr>
          <p:cNvGrpSpPr/>
          <p:nvPr/>
        </p:nvGrpSpPr>
        <p:grpSpPr>
          <a:xfrm>
            <a:off x="4755183" y="4138379"/>
            <a:ext cx="1074668" cy="607647"/>
            <a:chOff x="2399494" y="3441340"/>
            <a:chExt cx="976549" cy="552168"/>
          </a:xfrm>
          <a:solidFill>
            <a:srgbClr val="C00000"/>
          </a:solidFill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6E771E8-37A2-4A89-BDDE-A13F41E1202D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864CF5E-B9E1-478A-9599-5B85086D50AF}"/>
                </a:ext>
              </a:extLst>
            </p:cNvPr>
            <p:cNvSpPr txBox="1"/>
            <p:nvPr/>
          </p:nvSpPr>
          <p:spPr>
            <a:xfrm>
              <a:off x="2399494" y="3498866"/>
              <a:ext cx="9765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239505F-03B5-49F8-B547-EDB5963C5904}"/>
              </a:ext>
            </a:extLst>
          </p:cNvPr>
          <p:cNvGrpSpPr/>
          <p:nvPr/>
        </p:nvGrpSpPr>
        <p:grpSpPr>
          <a:xfrm>
            <a:off x="4859001" y="1960315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A3C68F3-087A-4619-8395-6DD6B4DE8F25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DB96A20-EAD2-42B9-9E93-0AFD94F1C752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D173835-D9F2-4F87-B767-107475B02FA5}"/>
              </a:ext>
            </a:extLst>
          </p:cNvPr>
          <p:cNvGrpSpPr/>
          <p:nvPr/>
        </p:nvGrpSpPr>
        <p:grpSpPr>
          <a:xfrm>
            <a:off x="8287909" y="4138379"/>
            <a:ext cx="1049665" cy="607647"/>
            <a:chOff x="2410853" y="3441340"/>
            <a:chExt cx="953829" cy="552168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9011727-99DD-4549-AFC3-1CC858DF95F1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5362726-B961-4E08-A70D-C381381A5269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5642D19-FBF8-4FE5-BF91-367CB768FCA0}"/>
              </a:ext>
            </a:extLst>
          </p:cNvPr>
          <p:cNvGrpSpPr/>
          <p:nvPr/>
        </p:nvGrpSpPr>
        <p:grpSpPr>
          <a:xfrm>
            <a:off x="7184728" y="1960315"/>
            <a:ext cx="867032" cy="501921"/>
            <a:chOff x="8144873" y="2723071"/>
            <a:chExt cx="867032" cy="501921"/>
          </a:xfrm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577BF5D-A6DD-4035-AD61-A1C1FDEB6766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0A875256-B1E3-435E-845D-1734D6AFF0B5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353AFA8-C2E3-4D8E-9C71-47FEE22D841B}"/>
              </a:ext>
            </a:extLst>
          </p:cNvPr>
          <p:cNvGrpSpPr/>
          <p:nvPr/>
        </p:nvGrpSpPr>
        <p:grpSpPr>
          <a:xfrm>
            <a:off x="8287909" y="1907452"/>
            <a:ext cx="1049665" cy="607647"/>
            <a:chOff x="2410853" y="3441340"/>
            <a:chExt cx="953829" cy="552168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77FEAE4-B02E-4599-847D-65EC2B1E5AE9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0A5267E2-D64B-4BFD-846A-CD93F46F5872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889B85FE-25F3-40E2-B667-0D20B434216B}"/>
              </a:ext>
            </a:extLst>
          </p:cNvPr>
          <p:cNvGrpSpPr/>
          <p:nvPr/>
        </p:nvGrpSpPr>
        <p:grpSpPr>
          <a:xfrm>
            <a:off x="6053211" y="3075423"/>
            <a:ext cx="867032" cy="501921"/>
            <a:chOff x="2632334" y="2018331"/>
            <a:chExt cx="867032" cy="501921"/>
          </a:xfrm>
        </p:grpSpPr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7DC8DB0-DCA4-421F-81A9-833F60E165F6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D649F3C2-D5DE-4842-AFE1-D497E1D225BE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DED8B21D-B96E-434B-B321-AB2DA5632F7F}"/>
              </a:ext>
            </a:extLst>
          </p:cNvPr>
          <p:cNvGrpSpPr/>
          <p:nvPr/>
        </p:nvGrpSpPr>
        <p:grpSpPr>
          <a:xfrm>
            <a:off x="8287909" y="3022560"/>
            <a:ext cx="1049665" cy="607647"/>
            <a:chOff x="2410853" y="3441340"/>
            <a:chExt cx="953829" cy="552168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D0003923-B76D-42E4-B040-31E82DEC130A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883C8EF-EA15-42CF-BB23-6FB1048AA94D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D3852FB-1BAF-404D-9EEF-DD02966A20D7}"/>
              </a:ext>
            </a:extLst>
          </p:cNvPr>
          <p:cNvGrpSpPr/>
          <p:nvPr/>
        </p:nvGrpSpPr>
        <p:grpSpPr>
          <a:xfrm>
            <a:off x="6053211" y="4191242"/>
            <a:ext cx="867032" cy="501921"/>
            <a:chOff x="2632334" y="2018331"/>
            <a:chExt cx="867032" cy="501921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8D83A18-7B2D-4D41-B58B-87B4E925F2F7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3058611-2AD6-4FE0-BDF6-80C59760B020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BCE204D-9B0C-498E-AA05-38EC70B8F941}"/>
              </a:ext>
            </a:extLst>
          </p:cNvPr>
          <p:cNvGrpSpPr/>
          <p:nvPr/>
        </p:nvGrpSpPr>
        <p:grpSpPr>
          <a:xfrm>
            <a:off x="7184728" y="4191242"/>
            <a:ext cx="867032" cy="501921"/>
            <a:chOff x="8144873" y="2723071"/>
            <a:chExt cx="867032" cy="501921"/>
          </a:xfrm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EBFC6558-66A1-4EC7-AA6A-874547FE491A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ECD7E2C-2B43-4598-8B39-8EA5A3C3259E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087853AB-790D-4BF4-A6B3-37D946FDA213}"/>
              </a:ext>
            </a:extLst>
          </p:cNvPr>
          <p:cNvSpPr/>
          <p:nvPr/>
        </p:nvSpPr>
        <p:spPr>
          <a:xfrm>
            <a:off x="9639237" y="3296419"/>
            <a:ext cx="2051669" cy="1610231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A5D0295-3E36-466B-B25F-D6BC305BE00D}"/>
              </a:ext>
            </a:extLst>
          </p:cNvPr>
          <p:cNvGrpSpPr/>
          <p:nvPr/>
        </p:nvGrpSpPr>
        <p:grpSpPr>
          <a:xfrm>
            <a:off x="9818595" y="3058353"/>
            <a:ext cx="867032" cy="507646"/>
            <a:chOff x="2632334" y="2018331"/>
            <a:chExt cx="867032" cy="507646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8639AF9-3B37-41AB-BBBD-0FF42E8BEA66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2378A79-09B7-40C3-BAD3-FF56C98BB66E}"/>
                </a:ext>
              </a:extLst>
            </p:cNvPr>
            <p:cNvSpPr txBox="1"/>
            <p:nvPr/>
          </p:nvSpPr>
          <p:spPr>
            <a:xfrm>
              <a:off x="2734670" y="2064312"/>
              <a:ext cx="66236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art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4288A11-65AC-4553-BFBB-0FE70FC803B6}"/>
              </a:ext>
            </a:extLst>
          </p:cNvPr>
          <p:cNvGrpSpPr/>
          <p:nvPr/>
        </p:nvGrpSpPr>
        <p:grpSpPr>
          <a:xfrm>
            <a:off x="10446990" y="3433575"/>
            <a:ext cx="867032" cy="501921"/>
            <a:chOff x="8144873" y="2723071"/>
            <a:chExt cx="867032" cy="501921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BA84569-1A5B-422C-A7BC-7A7C281CB866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94847B9-9633-48E0-A601-4A1A6A85E8FC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EFA530D-E4E7-484F-9AEB-F2A9D8459E25}"/>
              </a:ext>
            </a:extLst>
          </p:cNvPr>
          <p:cNvGrpSpPr/>
          <p:nvPr/>
        </p:nvGrpSpPr>
        <p:grpSpPr>
          <a:xfrm>
            <a:off x="10427480" y="4141229"/>
            <a:ext cx="1049665" cy="607647"/>
            <a:chOff x="2410853" y="3441340"/>
            <a:chExt cx="953829" cy="552168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AF93503-E813-461D-91AD-EE0AEFA9D4E0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E358562-25FD-43BE-81A6-D70099185367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C04B084-05A3-4D26-A235-E2235E7E0524}"/>
              </a:ext>
            </a:extLst>
          </p:cNvPr>
          <p:cNvGrpSpPr/>
          <p:nvPr/>
        </p:nvGrpSpPr>
        <p:grpSpPr>
          <a:xfrm>
            <a:off x="9814681" y="3850653"/>
            <a:ext cx="867032" cy="507646"/>
            <a:chOff x="2632334" y="2018331"/>
            <a:chExt cx="867032" cy="507646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CF3338CB-0936-4AB0-8A0B-ECBDCC22E8B2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D5691FC5-47B3-48C1-983A-F9D049D7FF6A}"/>
                </a:ext>
              </a:extLst>
            </p:cNvPr>
            <p:cNvSpPr txBox="1"/>
            <p:nvPr/>
          </p:nvSpPr>
          <p:spPr>
            <a:xfrm>
              <a:off x="2734670" y="2064312"/>
              <a:ext cx="66236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art</a:t>
              </a:r>
            </a:p>
          </p:txBody>
        </p:sp>
      </p:grp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1EB7FD00-3BE5-44A2-B044-EEFDFDFF9B5A}"/>
              </a:ext>
            </a:extLst>
          </p:cNvPr>
          <p:cNvSpPr/>
          <p:nvPr/>
        </p:nvSpPr>
        <p:spPr>
          <a:xfrm>
            <a:off x="254527" y="1506594"/>
            <a:ext cx="3599974" cy="4033045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26EE902-441C-4019-B1AF-EB0A61448CD2}"/>
              </a:ext>
            </a:extLst>
          </p:cNvPr>
          <p:cNvSpPr/>
          <p:nvPr/>
        </p:nvSpPr>
        <p:spPr>
          <a:xfrm>
            <a:off x="376165" y="2483220"/>
            <a:ext cx="3303442" cy="288250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4CA37507-E441-4031-9858-B21B94E29EBC}"/>
              </a:ext>
            </a:extLst>
          </p:cNvPr>
          <p:cNvSpPr/>
          <p:nvPr/>
        </p:nvSpPr>
        <p:spPr>
          <a:xfrm>
            <a:off x="485683" y="3411528"/>
            <a:ext cx="2644018" cy="1816087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CA62EA8B-CFA0-49F7-ACF4-DFA1956DEDAA}"/>
              </a:ext>
            </a:extLst>
          </p:cNvPr>
          <p:cNvSpPr/>
          <p:nvPr/>
        </p:nvSpPr>
        <p:spPr>
          <a:xfrm>
            <a:off x="964162" y="1289865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lex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366EE56A-B630-4A75-9228-E907462E8F47}"/>
              </a:ext>
            </a:extLst>
          </p:cNvPr>
          <p:cNvSpPr/>
          <p:nvPr/>
        </p:nvSpPr>
        <p:spPr>
          <a:xfrm>
            <a:off x="964162" y="2289003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ntity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251A06B5-C57D-4FDB-9E27-34DA1196090A}"/>
              </a:ext>
            </a:extLst>
          </p:cNvPr>
          <p:cNvSpPr/>
          <p:nvPr/>
        </p:nvSpPr>
        <p:spPr>
          <a:xfrm>
            <a:off x="964162" y="3192071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7699435E-933F-42C0-90E1-30F273AA60A4}"/>
              </a:ext>
            </a:extLst>
          </p:cNvPr>
          <p:cNvSpPr/>
          <p:nvPr/>
        </p:nvSpPr>
        <p:spPr>
          <a:xfrm>
            <a:off x="2413408" y="2735475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0569D9E0-4BD8-43A9-B1E3-A9AAF7473D5A}"/>
              </a:ext>
            </a:extLst>
          </p:cNvPr>
          <p:cNvSpPr/>
          <p:nvPr/>
        </p:nvSpPr>
        <p:spPr>
          <a:xfrm>
            <a:off x="647994" y="3972441"/>
            <a:ext cx="2308535" cy="1176960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EA670A2C-B024-4218-859D-629AB5CD8B4A}"/>
              </a:ext>
            </a:extLst>
          </p:cNvPr>
          <p:cNvSpPr/>
          <p:nvPr/>
        </p:nvSpPr>
        <p:spPr>
          <a:xfrm>
            <a:off x="964162" y="3752984"/>
            <a:ext cx="1060020" cy="438915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D7FC7BC-7529-45A1-BA06-6CE401543296}"/>
              </a:ext>
            </a:extLst>
          </p:cNvPr>
          <p:cNvSpPr/>
          <p:nvPr/>
        </p:nvSpPr>
        <p:spPr>
          <a:xfrm>
            <a:off x="964162" y="4453663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4" name="&quot;Not Allowed&quot; Symbol 3">
            <a:extLst>
              <a:ext uri="{FF2B5EF4-FFF2-40B4-BE49-F238E27FC236}">
                <a16:creationId xmlns:a16="http://schemas.microsoft.com/office/drawing/2014/main" id="{62DF2B5D-2699-409C-84D1-46A4F3A9C79D}"/>
              </a:ext>
            </a:extLst>
          </p:cNvPr>
          <p:cNvSpPr/>
          <p:nvPr/>
        </p:nvSpPr>
        <p:spPr>
          <a:xfrm>
            <a:off x="6233498" y="3018809"/>
            <a:ext cx="551774" cy="551774"/>
          </a:xfrm>
          <a:prstGeom prst="noSmoking">
            <a:avLst>
              <a:gd name="adj" fmla="val 8876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9" name="&quot;Not Allowed&quot; Symbol 68">
            <a:extLst>
              <a:ext uri="{FF2B5EF4-FFF2-40B4-BE49-F238E27FC236}">
                <a16:creationId xmlns:a16="http://schemas.microsoft.com/office/drawing/2014/main" id="{0166B797-D1AA-4436-A7D5-C7D078512FC9}"/>
              </a:ext>
            </a:extLst>
          </p:cNvPr>
          <p:cNvSpPr/>
          <p:nvPr/>
        </p:nvSpPr>
        <p:spPr>
          <a:xfrm>
            <a:off x="5047977" y="1925703"/>
            <a:ext cx="551774" cy="551774"/>
          </a:xfrm>
          <a:prstGeom prst="noSmoking">
            <a:avLst>
              <a:gd name="adj" fmla="val 8876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0" name="&quot;Not Allowed&quot; Symbol 69">
            <a:extLst>
              <a:ext uri="{FF2B5EF4-FFF2-40B4-BE49-F238E27FC236}">
                <a16:creationId xmlns:a16="http://schemas.microsoft.com/office/drawing/2014/main" id="{6954EA71-75CE-43D3-B919-072389FF064C}"/>
              </a:ext>
            </a:extLst>
          </p:cNvPr>
          <p:cNvSpPr/>
          <p:nvPr/>
        </p:nvSpPr>
        <p:spPr>
          <a:xfrm>
            <a:off x="7335075" y="4157962"/>
            <a:ext cx="551774" cy="551774"/>
          </a:xfrm>
          <a:prstGeom prst="noSmoking">
            <a:avLst>
              <a:gd name="adj" fmla="val 8876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3" name="&quot;Not Allowed&quot; Symbol 82">
            <a:extLst>
              <a:ext uri="{FF2B5EF4-FFF2-40B4-BE49-F238E27FC236}">
                <a16:creationId xmlns:a16="http://schemas.microsoft.com/office/drawing/2014/main" id="{8F7F9FF6-325B-4879-9076-6C8218BD5D18}"/>
              </a:ext>
            </a:extLst>
          </p:cNvPr>
          <p:cNvSpPr/>
          <p:nvPr/>
        </p:nvSpPr>
        <p:spPr>
          <a:xfrm>
            <a:off x="9884073" y="3819652"/>
            <a:ext cx="551774" cy="551774"/>
          </a:xfrm>
          <a:prstGeom prst="noSmoking">
            <a:avLst>
              <a:gd name="adj" fmla="val 8876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3" name="&quot;Not Allowed&quot; Symbol 92">
            <a:extLst>
              <a:ext uri="{FF2B5EF4-FFF2-40B4-BE49-F238E27FC236}">
                <a16:creationId xmlns:a16="http://schemas.microsoft.com/office/drawing/2014/main" id="{1E92A9C5-C7C1-48E1-93B2-0C5A8A554072}"/>
              </a:ext>
            </a:extLst>
          </p:cNvPr>
          <p:cNvSpPr/>
          <p:nvPr/>
        </p:nvSpPr>
        <p:spPr>
          <a:xfrm>
            <a:off x="7346891" y="3437116"/>
            <a:ext cx="551774" cy="551774"/>
          </a:xfrm>
          <a:prstGeom prst="noSmoking">
            <a:avLst>
              <a:gd name="adj" fmla="val 8876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878AB79-64DF-461F-BC3E-A76A678CF42F}"/>
              </a:ext>
            </a:extLst>
          </p:cNvPr>
          <p:cNvSpPr txBox="1"/>
          <p:nvPr/>
        </p:nvSpPr>
        <p:spPr>
          <a:xfrm>
            <a:off x="7612460" y="930695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BIS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A3EE8072-9986-44A9-921E-08F018CFBD9D}"/>
              </a:ext>
            </a:extLst>
          </p:cNvPr>
          <p:cNvSpPr txBox="1"/>
          <p:nvPr/>
        </p:nvSpPr>
        <p:spPr>
          <a:xfrm>
            <a:off x="751687" y="743368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UNICLASS</a:t>
            </a:r>
          </a:p>
        </p:txBody>
      </p:sp>
    </p:spTree>
    <p:extLst>
      <p:ext uri="{BB962C8B-B14F-4D97-AF65-F5344CB8AC3E}">
        <p14:creationId xmlns:p14="http://schemas.microsoft.com/office/powerpoint/2010/main" val="28399525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143" grpId="0" animBg="1"/>
      <p:bldP spid="47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Physical Hierarchy Stereotypes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F58CFE6E-0C9D-4E8A-81CB-C4F4BF7649F1}"/>
              </a:ext>
            </a:extLst>
          </p:cNvPr>
          <p:cNvSpPr/>
          <p:nvPr/>
        </p:nvSpPr>
        <p:spPr>
          <a:xfrm>
            <a:off x="4332981" y="1536569"/>
            <a:ext cx="3599974" cy="4217738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70D0571-CA6C-4285-9978-A495A398B16D}"/>
              </a:ext>
            </a:extLst>
          </p:cNvPr>
          <p:cNvSpPr/>
          <p:nvPr/>
        </p:nvSpPr>
        <p:spPr>
          <a:xfrm>
            <a:off x="4442498" y="2516295"/>
            <a:ext cx="3306335" cy="289136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B352C25-FC12-436A-940A-B1ECAA45DB9B}"/>
              </a:ext>
            </a:extLst>
          </p:cNvPr>
          <p:cNvSpPr txBox="1"/>
          <p:nvPr/>
        </p:nvSpPr>
        <p:spPr>
          <a:xfrm>
            <a:off x="5252437" y="1103693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E34BE3D-DBFA-4A01-BD96-A8594D08B36E}"/>
              </a:ext>
            </a:extLst>
          </p:cNvPr>
          <p:cNvGrpSpPr/>
          <p:nvPr/>
        </p:nvGrpSpPr>
        <p:grpSpPr>
          <a:xfrm>
            <a:off x="4977580" y="2272860"/>
            <a:ext cx="867032" cy="501921"/>
            <a:chOff x="2632334" y="2018331"/>
            <a:chExt cx="867032" cy="501921"/>
          </a:xfrm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9131E13-8E6B-41FD-88EB-F89D236F62D0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33E087C7-1183-4874-A349-42EEAA34A567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03CB57C-C50B-4A32-8E70-C6B2937F9AEF}"/>
              </a:ext>
            </a:extLst>
          </p:cNvPr>
          <p:cNvGrpSpPr/>
          <p:nvPr/>
        </p:nvGrpSpPr>
        <p:grpSpPr>
          <a:xfrm>
            <a:off x="4977580" y="1283007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98658CA-291E-4941-A956-9E630D6D84C9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EC56F11-A87B-4CC2-AD4D-6D5AAD3C485D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087853AB-790D-4BF4-A6B3-37D946FDA213}"/>
              </a:ext>
            </a:extLst>
          </p:cNvPr>
          <p:cNvSpPr/>
          <p:nvPr/>
        </p:nvSpPr>
        <p:spPr>
          <a:xfrm>
            <a:off x="4562575" y="3261049"/>
            <a:ext cx="2960016" cy="199194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A5D0295-3E36-466B-B25F-D6BC305BE00D}"/>
              </a:ext>
            </a:extLst>
          </p:cNvPr>
          <p:cNvGrpSpPr/>
          <p:nvPr/>
        </p:nvGrpSpPr>
        <p:grpSpPr>
          <a:xfrm>
            <a:off x="4977580" y="3022983"/>
            <a:ext cx="867032" cy="507646"/>
            <a:chOff x="2632334" y="2018331"/>
            <a:chExt cx="867032" cy="507646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8639AF9-3B37-41AB-BBBD-0FF42E8BEA66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2378A79-09B7-40C3-BAD3-FF56C98BB66E}"/>
                </a:ext>
              </a:extLst>
            </p:cNvPr>
            <p:cNvSpPr txBox="1"/>
            <p:nvPr/>
          </p:nvSpPr>
          <p:spPr>
            <a:xfrm>
              <a:off x="2734670" y="2064312"/>
              <a:ext cx="66236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art</a:t>
              </a:r>
            </a:p>
          </p:txBody>
        </p:sp>
      </p:grp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1EB7FD00-3BE5-44A2-B044-EEFDFDFF9B5A}"/>
              </a:ext>
            </a:extLst>
          </p:cNvPr>
          <p:cNvSpPr/>
          <p:nvPr/>
        </p:nvSpPr>
        <p:spPr>
          <a:xfrm>
            <a:off x="254527" y="1506594"/>
            <a:ext cx="3599974" cy="4033045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26EE902-441C-4019-B1AF-EB0A61448CD2}"/>
              </a:ext>
            </a:extLst>
          </p:cNvPr>
          <p:cNvSpPr/>
          <p:nvPr/>
        </p:nvSpPr>
        <p:spPr>
          <a:xfrm>
            <a:off x="376165" y="2483220"/>
            <a:ext cx="3303442" cy="288250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4CA37507-E441-4031-9858-B21B94E29EBC}"/>
              </a:ext>
            </a:extLst>
          </p:cNvPr>
          <p:cNvSpPr/>
          <p:nvPr/>
        </p:nvSpPr>
        <p:spPr>
          <a:xfrm>
            <a:off x="485683" y="3411528"/>
            <a:ext cx="2644018" cy="1816087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CA62EA8B-CFA0-49F7-ACF4-DFA1956DEDAA}"/>
              </a:ext>
            </a:extLst>
          </p:cNvPr>
          <p:cNvSpPr/>
          <p:nvPr/>
        </p:nvSpPr>
        <p:spPr>
          <a:xfrm>
            <a:off x="964162" y="1289865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lex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366EE56A-B630-4A75-9228-E907462E8F47}"/>
              </a:ext>
            </a:extLst>
          </p:cNvPr>
          <p:cNvSpPr/>
          <p:nvPr/>
        </p:nvSpPr>
        <p:spPr>
          <a:xfrm>
            <a:off x="964162" y="2289003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ntity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251A06B5-C57D-4FDB-9E27-34DA1196090A}"/>
              </a:ext>
            </a:extLst>
          </p:cNvPr>
          <p:cNvSpPr/>
          <p:nvPr/>
        </p:nvSpPr>
        <p:spPr>
          <a:xfrm>
            <a:off x="964162" y="3192071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7699435E-933F-42C0-90E1-30F273AA60A4}"/>
              </a:ext>
            </a:extLst>
          </p:cNvPr>
          <p:cNvSpPr/>
          <p:nvPr/>
        </p:nvSpPr>
        <p:spPr>
          <a:xfrm>
            <a:off x="2413408" y="2735475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0569D9E0-4BD8-43A9-B1E3-A9AAF7473D5A}"/>
              </a:ext>
            </a:extLst>
          </p:cNvPr>
          <p:cNvSpPr/>
          <p:nvPr/>
        </p:nvSpPr>
        <p:spPr>
          <a:xfrm>
            <a:off x="647994" y="3972441"/>
            <a:ext cx="2308535" cy="1176960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EA670A2C-B024-4218-859D-629AB5CD8B4A}"/>
              </a:ext>
            </a:extLst>
          </p:cNvPr>
          <p:cNvSpPr/>
          <p:nvPr/>
        </p:nvSpPr>
        <p:spPr>
          <a:xfrm>
            <a:off x="964162" y="3752984"/>
            <a:ext cx="1060020" cy="438915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D7FC7BC-7529-45A1-BA06-6CE401543296}"/>
              </a:ext>
            </a:extLst>
          </p:cNvPr>
          <p:cNvSpPr/>
          <p:nvPr/>
        </p:nvSpPr>
        <p:spPr>
          <a:xfrm>
            <a:off x="964162" y="4453663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078B35B0-6BDD-43F7-B157-68EAD61468DE}"/>
              </a:ext>
            </a:extLst>
          </p:cNvPr>
          <p:cNvSpPr/>
          <p:nvPr/>
        </p:nvSpPr>
        <p:spPr>
          <a:xfrm>
            <a:off x="4722829" y="3900125"/>
            <a:ext cx="2667785" cy="1249301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0E60D90-2F24-448E-B4D1-F64934AEDE0C}"/>
              </a:ext>
            </a:extLst>
          </p:cNvPr>
          <p:cNvGrpSpPr/>
          <p:nvPr/>
        </p:nvGrpSpPr>
        <p:grpSpPr>
          <a:xfrm>
            <a:off x="4977580" y="3652293"/>
            <a:ext cx="867032" cy="501921"/>
            <a:chOff x="8144873" y="2723071"/>
            <a:chExt cx="867032" cy="501921"/>
          </a:xfrm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72C9168-11D8-45DA-A9E3-AC6F586DF392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B6B9E58-1448-476F-8AB1-22B9A13309E3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0684432-06D7-406F-A8C9-81176B34BE5F}"/>
              </a:ext>
            </a:extLst>
          </p:cNvPr>
          <p:cNvGrpSpPr/>
          <p:nvPr/>
        </p:nvGrpSpPr>
        <p:grpSpPr>
          <a:xfrm>
            <a:off x="4873762" y="4333530"/>
            <a:ext cx="1074668" cy="607647"/>
            <a:chOff x="2399494" y="3441340"/>
            <a:chExt cx="976549" cy="552168"/>
          </a:xfrm>
          <a:solidFill>
            <a:srgbClr val="C00000"/>
          </a:solidFill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6E771E8-37A2-4A89-BDDE-A13F41E1202D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864CF5E-B9E1-478A-9599-5B85086D50AF}"/>
                </a:ext>
              </a:extLst>
            </p:cNvPr>
            <p:cNvSpPr txBox="1"/>
            <p:nvPr/>
          </p:nvSpPr>
          <p:spPr>
            <a:xfrm>
              <a:off x="2399494" y="3498866"/>
              <a:ext cx="9765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D173835-D9F2-4F87-B767-107475B02FA5}"/>
              </a:ext>
            </a:extLst>
          </p:cNvPr>
          <p:cNvGrpSpPr/>
          <p:nvPr/>
        </p:nvGrpSpPr>
        <p:grpSpPr>
          <a:xfrm>
            <a:off x="6152383" y="4333530"/>
            <a:ext cx="1049665" cy="607647"/>
            <a:chOff x="2410853" y="3441340"/>
            <a:chExt cx="953829" cy="552168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9011727-99DD-4549-AFC3-1CC858DF95F1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5362726-B961-4E08-A70D-C381381A5269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5A94179-5431-4967-9FE9-19939FC84178}"/>
              </a:ext>
            </a:extLst>
          </p:cNvPr>
          <p:cNvGrpSpPr/>
          <p:nvPr/>
        </p:nvGrpSpPr>
        <p:grpSpPr>
          <a:xfrm>
            <a:off x="6298458" y="2653281"/>
            <a:ext cx="867032" cy="501921"/>
            <a:chOff x="2632334" y="2018331"/>
            <a:chExt cx="867032" cy="501921"/>
          </a:xfrm>
        </p:grpSpPr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18A058A-0D31-4847-96C9-6C4EF99763BE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11F0EB40-60BE-4618-9F28-489AD41E7FDD}"/>
                </a:ext>
              </a:extLst>
            </p:cNvPr>
            <p:cNvSpPr txBox="1"/>
            <p:nvPr/>
          </p:nvSpPr>
          <p:spPr>
            <a:xfrm>
              <a:off x="2756311" y="2130301"/>
              <a:ext cx="6190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pace</a:t>
              </a: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94174104-8A27-4ABC-880C-473335BB30E9}"/>
              </a:ext>
            </a:extLst>
          </p:cNvPr>
          <p:cNvSpPr txBox="1"/>
          <p:nvPr/>
        </p:nvSpPr>
        <p:spPr>
          <a:xfrm>
            <a:off x="751687" y="743368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UNICLASS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9AB47A88-8FB9-4ED5-B926-5EB9DB7E5B6B}"/>
              </a:ext>
            </a:extLst>
          </p:cNvPr>
          <p:cNvSpPr txBox="1"/>
          <p:nvPr/>
        </p:nvSpPr>
        <p:spPr>
          <a:xfrm>
            <a:off x="4804664" y="776138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BIS (simplified)</a:t>
            </a:r>
          </a:p>
        </p:txBody>
      </p:sp>
    </p:spTree>
    <p:extLst>
      <p:ext uri="{BB962C8B-B14F-4D97-AF65-F5344CB8AC3E}">
        <p14:creationId xmlns:p14="http://schemas.microsoft.com/office/powerpoint/2010/main" val="34077583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47" grpId="0" animBg="1"/>
      <p:bldP spid="143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66550-7C7F-4755-B3A9-7E74C1FC6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3EAA42-2F49-45AB-A11F-242E15191C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529" y="0"/>
            <a:ext cx="9422612" cy="652334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FA02E4D-2471-488A-9BAD-DB5F8D0CC885}"/>
              </a:ext>
            </a:extLst>
          </p:cNvPr>
          <p:cNvSpPr/>
          <p:nvPr/>
        </p:nvSpPr>
        <p:spPr>
          <a:xfrm>
            <a:off x="5904322" y="237744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hlinkClick r:id="rId3"/>
              </a:rPr>
              <a:t>Diego on IFC road railhttps://web.microsoftstream.com/video/ef9a4fae-31fd-44d0-ad02-ec8a3acba14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187011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4722005-0BB2-4BC9-B741-FC5D3271B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571" y="403598"/>
            <a:ext cx="10348857" cy="6050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651321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B0360C3-0328-4C33-ACF4-9CBA9A6C5F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332" y="373115"/>
            <a:ext cx="11263336" cy="6111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18160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99FDC-74F3-48FD-9D5B-FE8024708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F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7519C19-FD23-46CA-9CF5-75478261111D}"/>
              </a:ext>
            </a:extLst>
          </p:cNvPr>
          <p:cNvSpPr/>
          <p:nvPr/>
        </p:nvSpPr>
        <p:spPr>
          <a:xfrm>
            <a:off x="1300899" y="0"/>
            <a:ext cx="106721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2"/>
              </a:rPr>
              <a:t>Meik Kabath on IFC https://web.microsoftstream.com/video/b9bc8e76-554e-4ed7-9a1c-ce87e5243ed4</a:t>
            </a:r>
            <a:endParaRPr lang="en-US" sz="1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43A63F3-4F92-4C0F-9667-983923371F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6945" y="323599"/>
            <a:ext cx="5362796" cy="424050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CE18101-2E7F-4F70-8BFC-D0D4D87A06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0669" y="4781629"/>
            <a:ext cx="7574936" cy="1699407"/>
          </a:xfrm>
          <a:prstGeom prst="rect">
            <a:avLst/>
          </a:prstGeom>
        </p:spPr>
      </p:pic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D99C345-E6EB-42B3-8148-1B61C2D34B70}"/>
              </a:ext>
            </a:extLst>
          </p:cNvPr>
          <p:cNvSpPr/>
          <p:nvPr/>
        </p:nvSpPr>
        <p:spPr>
          <a:xfrm>
            <a:off x="131976" y="1379358"/>
            <a:ext cx="3896966" cy="4804636"/>
          </a:xfrm>
          <a:prstGeom prst="roundRect">
            <a:avLst>
              <a:gd name="adj" fmla="val 12417"/>
            </a:avLst>
          </a:pr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AECF3C6-741F-4625-AB8F-09B65FE505AD}"/>
              </a:ext>
            </a:extLst>
          </p:cNvPr>
          <p:cNvSpPr/>
          <p:nvPr/>
        </p:nvSpPr>
        <p:spPr>
          <a:xfrm>
            <a:off x="254527" y="1883677"/>
            <a:ext cx="3599974" cy="4135278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BA1CF46-159C-4FD7-974B-0686624638DF}"/>
              </a:ext>
            </a:extLst>
          </p:cNvPr>
          <p:cNvSpPr/>
          <p:nvPr/>
        </p:nvSpPr>
        <p:spPr>
          <a:xfrm>
            <a:off x="376165" y="2822594"/>
            <a:ext cx="3303442" cy="3023120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023F26D-27A7-48F0-B1CB-5F60BAA3D4C3}"/>
              </a:ext>
            </a:extLst>
          </p:cNvPr>
          <p:cNvSpPr/>
          <p:nvPr/>
        </p:nvSpPr>
        <p:spPr>
          <a:xfrm>
            <a:off x="485683" y="3608208"/>
            <a:ext cx="2973954" cy="2096894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1CBC052-7BF9-4194-9289-FA05D08448DB}"/>
              </a:ext>
            </a:extLst>
          </p:cNvPr>
          <p:cNvSpPr/>
          <p:nvPr/>
        </p:nvSpPr>
        <p:spPr>
          <a:xfrm>
            <a:off x="964162" y="1129617"/>
            <a:ext cx="1060020" cy="438915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ject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33C8515-4561-4058-88E4-3BD2B21E9B9A}"/>
              </a:ext>
            </a:extLst>
          </p:cNvPr>
          <p:cNvSpPr/>
          <p:nvPr/>
        </p:nvSpPr>
        <p:spPr>
          <a:xfrm>
            <a:off x="964162" y="2628377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acility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76904155-923A-465F-8463-29E971347FE7}"/>
              </a:ext>
            </a:extLst>
          </p:cNvPr>
          <p:cNvSpPr/>
          <p:nvPr/>
        </p:nvSpPr>
        <p:spPr>
          <a:xfrm>
            <a:off x="964162" y="3361761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err="1"/>
              <a:t>FacilityPart</a:t>
            </a:r>
            <a:endParaRPr lang="en-US" sz="1400" dirty="0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3993E89-B43C-4798-B393-9A72930AEC24}"/>
              </a:ext>
            </a:extLst>
          </p:cNvPr>
          <p:cNvSpPr/>
          <p:nvPr/>
        </p:nvSpPr>
        <p:spPr>
          <a:xfrm>
            <a:off x="964162" y="1649660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ite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5B5736D-FBDE-4BD4-9331-D94C9C50D9A0}"/>
              </a:ext>
            </a:extLst>
          </p:cNvPr>
          <p:cNvSpPr/>
          <p:nvPr/>
        </p:nvSpPr>
        <p:spPr>
          <a:xfrm>
            <a:off x="2193919" y="4003879"/>
            <a:ext cx="886848" cy="271188"/>
          </a:xfrm>
          <a:prstGeom prst="roundRect">
            <a:avLst/>
          </a:prstGeom>
          <a:solidFill>
            <a:srgbClr val="7F7F7F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795F60A7-B5C2-46D6-B032-2C42B197FD0A}"/>
              </a:ext>
            </a:extLst>
          </p:cNvPr>
          <p:cNvSpPr/>
          <p:nvPr/>
        </p:nvSpPr>
        <p:spPr>
          <a:xfrm>
            <a:off x="664843" y="4366367"/>
            <a:ext cx="2694456" cy="126000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8202AAA-F4BE-4E53-BBE1-4ABC3AE217E7}"/>
              </a:ext>
            </a:extLst>
          </p:cNvPr>
          <p:cNvSpPr/>
          <p:nvPr/>
        </p:nvSpPr>
        <p:spPr>
          <a:xfrm>
            <a:off x="981011" y="4146910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2E1E240-BF49-4139-BFF2-A12B505BBE99}"/>
              </a:ext>
            </a:extLst>
          </p:cNvPr>
          <p:cNvSpPr/>
          <p:nvPr/>
        </p:nvSpPr>
        <p:spPr>
          <a:xfrm>
            <a:off x="829598" y="4860363"/>
            <a:ext cx="1364321" cy="641381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A2CD148-3D6F-4220-86D6-CC2BCDAAFF42}"/>
              </a:ext>
            </a:extLst>
          </p:cNvPr>
          <p:cNvSpPr/>
          <p:nvPr/>
        </p:nvSpPr>
        <p:spPr>
          <a:xfrm>
            <a:off x="1017978" y="4716322"/>
            <a:ext cx="1010306" cy="281103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ssembly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30C6179-7A8F-43A7-B88B-27C01A65F481}"/>
              </a:ext>
            </a:extLst>
          </p:cNvPr>
          <p:cNvSpPr/>
          <p:nvPr/>
        </p:nvSpPr>
        <p:spPr>
          <a:xfrm>
            <a:off x="1025924" y="5126741"/>
            <a:ext cx="899909" cy="281102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B01C7F28-A973-410A-96A8-A46D35825345}"/>
              </a:ext>
            </a:extLst>
          </p:cNvPr>
          <p:cNvSpPr/>
          <p:nvPr/>
        </p:nvSpPr>
        <p:spPr>
          <a:xfrm>
            <a:off x="2311234" y="4644959"/>
            <a:ext cx="886848" cy="271188"/>
          </a:xfrm>
          <a:prstGeom prst="roundRect">
            <a:avLst/>
          </a:prstGeom>
          <a:solidFill>
            <a:srgbClr val="7F7F7F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8DABAA26-0770-4E6B-BC8B-1DEA7BF4AC4E}"/>
              </a:ext>
            </a:extLst>
          </p:cNvPr>
          <p:cNvSpPr/>
          <p:nvPr/>
        </p:nvSpPr>
        <p:spPr>
          <a:xfrm>
            <a:off x="2144259" y="3680631"/>
            <a:ext cx="1010306" cy="281103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ssembly</a:t>
            </a:r>
          </a:p>
        </p:txBody>
      </p:sp>
    </p:spTree>
    <p:extLst>
      <p:ext uri="{BB962C8B-B14F-4D97-AF65-F5344CB8AC3E}">
        <p14:creationId xmlns:p14="http://schemas.microsoft.com/office/powerpoint/2010/main" val="630697467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Spatial/Physical Hierarchy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F58CFE6E-0C9D-4E8A-81CB-C4F4BF7649F1}"/>
              </a:ext>
            </a:extLst>
          </p:cNvPr>
          <p:cNvSpPr/>
          <p:nvPr/>
        </p:nvSpPr>
        <p:spPr>
          <a:xfrm>
            <a:off x="8521621" y="2031975"/>
            <a:ext cx="3599974" cy="4217738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70D0571-CA6C-4285-9978-A495A398B16D}"/>
              </a:ext>
            </a:extLst>
          </p:cNvPr>
          <p:cNvSpPr/>
          <p:nvPr/>
        </p:nvSpPr>
        <p:spPr>
          <a:xfrm>
            <a:off x="8631138" y="3011701"/>
            <a:ext cx="3306335" cy="289136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B352C25-FC12-436A-940A-B1ECAA45DB9B}"/>
              </a:ext>
            </a:extLst>
          </p:cNvPr>
          <p:cNvSpPr txBox="1"/>
          <p:nvPr/>
        </p:nvSpPr>
        <p:spPr>
          <a:xfrm>
            <a:off x="9441077" y="1599099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E34BE3D-DBFA-4A01-BD96-A8594D08B36E}"/>
              </a:ext>
            </a:extLst>
          </p:cNvPr>
          <p:cNvGrpSpPr/>
          <p:nvPr/>
        </p:nvGrpSpPr>
        <p:grpSpPr>
          <a:xfrm>
            <a:off x="9166220" y="2768266"/>
            <a:ext cx="867032" cy="501921"/>
            <a:chOff x="2632334" y="2018331"/>
            <a:chExt cx="867032" cy="501921"/>
          </a:xfrm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9131E13-8E6B-41FD-88EB-F89D236F62D0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33E087C7-1183-4874-A349-42EEAA34A567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03CB57C-C50B-4A32-8E70-C6B2937F9AEF}"/>
              </a:ext>
            </a:extLst>
          </p:cNvPr>
          <p:cNvGrpSpPr/>
          <p:nvPr/>
        </p:nvGrpSpPr>
        <p:grpSpPr>
          <a:xfrm>
            <a:off x="9166220" y="1778413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98658CA-291E-4941-A956-9E630D6D84C9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EC56F11-A87B-4CC2-AD4D-6D5AAD3C485D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087853AB-790D-4BF4-A6B3-37D946FDA213}"/>
              </a:ext>
            </a:extLst>
          </p:cNvPr>
          <p:cNvSpPr/>
          <p:nvPr/>
        </p:nvSpPr>
        <p:spPr>
          <a:xfrm>
            <a:off x="8751215" y="3756455"/>
            <a:ext cx="2960016" cy="199194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A5D0295-3E36-466B-B25F-D6BC305BE00D}"/>
              </a:ext>
            </a:extLst>
          </p:cNvPr>
          <p:cNvGrpSpPr/>
          <p:nvPr/>
        </p:nvGrpSpPr>
        <p:grpSpPr>
          <a:xfrm>
            <a:off x="9166220" y="3518389"/>
            <a:ext cx="867032" cy="507646"/>
            <a:chOff x="2632334" y="2018331"/>
            <a:chExt cx="867032" cy="507646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8639AF9-3B37-41AB-BBBD-0FF42E8BEA66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2378A79-09B7-40C3-BAD3-FF56C98BB66E}"/>
                </a:ext>
              </a:extLst>
            </p:cNvPr>
            <p:cNvSpPr txBox="1"/>
            <p:nvPr/>
          </p:nvSpPr>
          <p:spPr>
            <a:xfrm>
              <a:off x="2734670" y="2064312"/>
              <a:ext cx="66236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art</a:t>
              </a:r>
            </a:p>
          </p:txBody>
        </p:sp>
      </p:grp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1EB7FD00-3BE5-44A2-B044-EEFDFDFF9B5A}"/>
              </a:ext>
            </a:extLst>
          </p:cNvPr>
          <p:cNvSpPr/>
          <p:nvPr/>
        </p:nvSpPr>
        <p:spPr>
          <a:xfrm>
            <a:off x="254527" y="2043933"/>
            <a:ext cx="3599974" cy="4033045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26EE902-441C-4019-B1AF-EB0A61448CD2}"/>
              </a:ext>
            </a:extLst>
          </p:cNvPr>
          <p:cNvSpPr/>
          <p:nvPr/>
        </p:nvSpPr>
        <p:spPr>
          <a:xfrm>
            <a:off x="376165" y="3020559"/>
            <a:ext cx="3303442" cy="288250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4CA37507-E441-4031-9858-B21B94E29EBC}"/>
              </a:ext>
            </a:extLst>
          </p:cNvPr>
          <p:cNvSpPr/>
          <p:nvPr/>
        </p:nvSpPr>
        <p:spPr>
          <a:xfrm>
            <a:off x="485683" y="3948867"/>
            <a:ext cx="2644018" cy="1816087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CA62EA8B-CFA0-49F7-ACF4-DFA1956DEDAA}"/>
              </a:ext>
            </a:extLst>
          </p:cNvPr>
          <p:cNvSpPr/>
          <p:nvPr/>
        </p:nvSpPr>
        <p:spPr>
          <a:xfrm>
            <a:off x="964162" y="1809916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lex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366EE56A-B630-4A75-9228-E907462E8F47}"/>
              </a:ext>
            </a:extLst>
          </p:cNvPr>
          <p:cNvSpPr/>
          <p:nvPr/>
        </p:nvSpPr>
        <p:spPr>
          <a:xfrm>
            <a:off x="964162" y="2826342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ntity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251A06B5-C57D-4FDB-9E27-34DA1196090A}"/>
              </a:ext>
            </a:extLst>
          </p:cNvPr>
          <p:cNvSpPr/>
          <p:nvPr/>
        </p:nvSpPr>
        <p:spPr>
          <a:xfrm>
            <a:off x="964162" y="3729410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7699435E-933F-42C0-90E1-30F273AA60A4}"/>
              </a:ext>
            </a:extLst>
          </p:cNvPr>
          <p:cNvSpPr/>
          <p:nvPr/>
        </p:nvSpPr>
        <p:spPr>
          <a:xfrm>
            <a:off x="2413408" y="3272814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0569D9E0-4BD8-43A9-B1E3-A9AAF7473D5A}"/>
              </a:ext>
            </a:extLst>
          </p:cNvPr>
          <p:cNvSpPr/>
          <p:nvPr/>
        </p:nvSpPr>
        <p:spPr>
          <a:xfrm>
            <a:off x="647994" y="4509780"/>
            <a:ext cx="2308535" cy="1176960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EA670A2C-B024-4218-859D-629AB5CD8B4A}"/>
              </a:ext>
            </a:extLst>
          </p:cNvPr>
          <p:cNvSpPr/>
          <p:nvPr/>
        </p:nvSpPr>
        <p:spPr>
          <a:xfrm>
            <a:off x="964162" y="4290323"/>
            <a:ext cx="1060020" cy="438915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D7FC7BC-7529-45A1-BA06-6CE401543296}"/>
              </a:ext>
            </a:extLst>
          </p:cNvPr>
          <p:cNvSpPr/>
          <p:nvPr/>
        </p:nvSpPr>
        <p:spPr>
          <a:xfrm>
            <a:off x="964162" y="4991002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078B35B0-6BDD-43F7-B157-68EAD61468DE}"/>
              </a:ext>
            </a:extLst>
          </p:cNvPr>
          <p:cNvSpPr/>
          <p:nvPr/>
        </p:nvSpPr>
        <p:spPr>
          <a:xfrm>
            <a:off x="8911469" y="4395531"/>
            <a:ext cx="2667785" cy="1249301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0E60D90-2F24-448E-B4D1-F64934AEDE0C}"/>
              </a:ext>
            </a:extLst>
          </p:cNvPr>
          <p:cNvGrpSpPr/>
          <p:nvPr/>
        </p:nvGrpSpPr>
        <p:grpSpPr>
          <a:xfrm>
            <a:off x="9166220" y="4147699"/>
            <a:ext cx="867032" cy="501921"/>
            <a:chOff x="8144873" y="2723071"/>
            <a:chExt cx="867032" cy="501921"/>
          </a:xfrm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72C9168-11D8-45DA-A9E3-AC6F586DF392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B6B9E58-1448-476F-8AB1-22B9A13309E3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0684432-06D7-406F-A8C9-81176B34BE5F}"/>
              </a:ext>
            </a:extLst>
          </p:cNvPr>
          <p:cNvGrpSpPr/>
          <p:nvPr/>
        </p:nvGrpSpPr>
        <p:grpSpPr>
          <a:xfrm>
            <a:off x="9062402" y="4828936"/>
            <a:ext cx="1074668" cy="607647"/>
            <a:chOff x="2399494" y="3441340"/>
            <a:chExt cx="976549" cy="552168"/>
          </a:xfrm>
          <a:solidFill>
            <a:srgbClr val="C00000"/>
          </a:solidFill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6E771E8-37A2-4A89-BDDE-A13F41E1202D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864CF5E-B9E1-478A-9599-5B85086D50AF}"/>
                </a:ext>
              </a:extLst>
            </p:cNvPr>
            <p:cNvSpPr txBox="1"/>
            <p:nvPr/>
          </p:nvSpPr>
          <p:spPr>
            <a:xfrm>
              <a:off x="2399494" y="3498866"/>
              <a:ext cx="9765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D173835-D9F2-4F87-B767-107475B02FA5}"/>
              </a:ext>
            </a:extLst>
          </p:cNvPr>
          <p:cNvGrpSpPr/>
          <p:nvPr/>
        </p:nvGrpSpPr>
        <p:grpSpPr>
          <a:xfrm>
            <a:off x="10341023" y="4828936"/>
            <a:ext cx="1049665" cy="607647"/>
            <a:chOff x="2410853" y="3441340"/>
            <a:chExt cx="953829" cy="552168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9011727-99DD-4549-AFC3-1CC858DF95F1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5362726-B961-4E08-A70D-C381381A5269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5A94179-5431-4967-9FE9-19939FC84178}"/>
              </a:ext>
            </a:extLst>
          </p:cNvPr>
          <p:cNvGrpSpPr/>
          <p:nvPr/>
        </p:nvGrpSpPr>
        <p:grpSpPr>
          <a:xfrm>
            <a:off x="10321608" y="3825033"/>
            <a:ext cx="867032" cy="501921"/>
            <a:chOff x="2632334" y="2018331"/>
            <a:chExt cx="867032" cy="501921"/>
          </a:xfrm>
        </p:grpSpPr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18A058A-0D31-4847-96C9-6C4EF99763BE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11F0EB40-60BE-4618-9F28-489AD41E7FDD}"/>
                </a:ext>
              </a:extLst>
            </p:cNvPr>
            <p:cNvSpPr txBox="1"/>
            <p:nvPr/>
          </p:nvSpPr>
          <p:spPr>
            <a:xfrm>
              <a:off x="2713831" y="2130301"/>
              <a:ext cx="7040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pace?</a:t>
              </a:r>
            </a:p>
          </p:txBody>
        </p:sp>
      </p:grpSp>
      <p:sp>
        <p:nvSpPr>
          <p:cNvPr id="103" name="TextBox 102">
            <a:extLst>
              <a:ext uri="{FF2B5EF4-FFF2-40B4-BE49-F238E27FC236}">
                <a16:creationId xmlns:a16="http://schemas.microsoft.com/office/drawing/2014/main" id="{35B8DFFD-E25F-4E69-9130-6E1FD9D3B143}"/>
              </a:ext>
            </a:extLst>
          </p:cNvPr>
          <p:cNvSpPr txBox="1"/>
          <p:nvPr/>
        </p:nvSpPr>
        <p:spPr>
          <a:xfrm>
            <a:off x="9358691" y="710860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BIS (simplified)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94174104-8A27-4ABC-880C-473335BB30E9}"/>
              </a:ext>
            </a:extLst>
          </p:cNvPr>
          <p:cNvSpPr txBox="1"/>
          <p:nvPr/>
        </p:nvSpPr>
        <p:spPr>
          <a:xfrm>
            <a:off x="751687" y="1280707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UNICLASS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F0F7C761-DBFD-4C19-B812-1EFD52BDA1FD}"/>
              </a:ext>
            </a:extLst>
          </p:cNvPr>
          <p:cNvSpPr/>
          <p:nvPr/>
        </p:nvSpPr>
        <p:spPr>
          <a:xfrm>
            <a:off x="4260918" y="1539614"/>
            <a:ext cx="3896966" cy="4804636"/>
          </a:xfrm>
          <a:prstGeom prst="roundRect">
            <a:avLst>
              <a:gd name="adj" fmla="val 12417"/>
            </a:avLst>
          </a:pr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9B91A79-F17F-4CC6-84C7-74DD35DA06AB}"/>
              </a:ext>
            </a:extLst>
          </p:cNvPr>
          <p:cNvSpPr/>
          <p:nvPr/>
        </p:nvSpPr>
        <p:spPr>
          <a:xfrm>
            <a:off x="4383469" y="2043933"/>
            <a:ext cx="3599974" cy="4135278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803B72D-9359-4AEA-AA16-740DABFD75E0}"/>
              </a:ext>
            </a:extLst>
          </p:cNvPr>
          <p:cNvSpPr/>
          <p:nvPr/>
        </p:nvSpPr>
        <p:spPr>
          <a:xfrm>
            <a:off x="4505107" y="2982850"/>
            <a:ext cx="3303442" cy="3023120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0CA37C85-F8A2-44C9-A222-CF75D661BF55}"/>
              </a:ext>
            </a:extLst>
          </p:cNvPr>
          <p:cNvSpPr/>
          <p:nvPr/>
        </p:nvSpPr>
        <p:spPr>
          <a:xfrm>
            <a:off x="4614625" y="3768464"/>
            <a:ext cx="2973954" cy="2096894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5232C2BA-7A98-498C-A7FC-AAE1C292CAEC}"/>
              </a:ext>
            </a:extLst>
          </p:cNvPr>
          <p:cNvSpPr/>
          <p:nvPr/>
        </p:nvSpPr>
        <p:spPr>
          <a:xfrm>
            <a:off x="5093104" y="1289873"/>
            <a:ext cx="1060020" cy="438915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ject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661F1C4C-D249-4719-96AF-69D975428010}"/>
              </a:ext>
            </a:extLst>
          </p:cNvPr>
          <p:cNvSpPr/>
          <p:nvPr/>
        </p:nvSpPr>
        <p:spPr>
          <a:xfrm>
            <a:off x="5093104" y="2788633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acility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32CDD8B2-EEE1-4791-A5AC-BD2F9C397517}"/>
              </a:ext>
            </a:extLst>
          </p:cNvPr>
          <p:cNvSpPr/>
          <p:nvPr/>
        </p:nvSpPr>
        <p:spPr>
          <a:xfrm>
            <a:off x="5093104" y="3522017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err="1"/>
              <a:t>FacilityPart</a:t>
            </a:r>
            <a:endParaRPr lang="en-US" sz="1400" dirty="0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92BF8CF2-E0EE-4003-A3E7-112DC93D2E2E}"/>
              </a:ext>
            </a:extLst>
          </p:cNvPr>
          <p:cNvSpPr/>
          <p:nvPr/>
        </p:nvSpPr>
        <p:spPr>
          <a:xfrm>
            <a:off x="5093104" y="1809916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ite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5BF81A85-C8F2-425D-995E-7F060203D785}"/>
              </a:ext>
            </a:extLst>
          </p:cNvPr>
          <p:cNvSpPr/>
          <p:nvPr/>
        </p:nvSpPr>
        <p:spPr>
          <a:xfrm>
            <a:off x="6322861" y="4164135"/>
            <a:ext cx="886848" cy="271188"/>
          </a:xfrm>
          <a:prstGeom prst="roundRect">
            <a:avLst/>
          </a:prstGeom>
          <a:solidFill>
            <a:srgbClr val="7F7F7F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ACF9438-DDDC-4FED-85A0-A1BABC936137}"/>
              </a:ext>
            </a:extLst>
          </p:cNvPr>
          <p:cNvGrpSpPr/>
          <p:nvPr/>
        </p:nvGrpSpPr>
        <p:grpSpPr>
          <a:xfrm>
            <a:off x="9166218" y="1139284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575B6A1F-ABB7-494B-B8CF-BA48DDC1D8AD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DA10CA0D-1290-4988-A794-BBF2E7619661}"/>
                </a:ext>
              </a:extLst>
            </p:cNvPr>
            <p:cNvSpPr txBox="1"/>
            <p:nvPr/>
          </p:nvSpPr>
          <p:spPr>
            <a:xfrm>
              <a:off x="3012089" y="1373641"/>
              <a:ext cx="6960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ubject</a:t>
              </a:r>
            </a:p>
          </p:txBody>
        </p: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A771BE95-B326-4B85-9322-B0D695F075EE}"/>
              </a:ext>
            </a:extLst>
          </p:cNvPr>
          <p:cNvSpPr txBox="1"/>
          <p:nvPr/>
        </p:nvSpPr>
        <p:spPr>
          <a:xfrm>
            <a:off x="4929627" y="796932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IFC</a:t>
            </a: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999642AA-7F15-4186-9A43-647544818BC5}"/>
              </a:ext>
            </a:extLst>
          </p:cNvPr>
          <p:cNvSpPr/>
          <p:nvPr/>
        </p:nvSpPr>
        <p:spPr>
          <a:xfrm>
            <a:off x="4793785" y="4526623"/>
            <a:ext cx="2694456" cy="126000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0942527D-7170-4E5E-9F67-99D155E35EA7}"/>
              </a:ext>
            </a:extLst>
          </p:cNvPr>
          <p:cNvSpPr/>
          <p:nvPr/>
        </p:nvSpPr>
        <p:spPr>
          <a:xfrm>
            <a:off x="5109953" y="4307166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43EB1D56-2A26-49DB-90FC-D88054E39B64}"/>
              </a:ext>
            </a:extLst>
          </p:cNvPr>
          <p:cNvSpPr/>
          <p:nvPr/>
        </p:nvSpPr>
        <p:spPr>
          <a:xfrm>
            <a:off x="4958540" y="5020619"/>
            <a:ext cx="1364321" cy="641381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B41CA356-392E-4107-AF53-69616CA49E3E}"/>
              </a:ext>
            </a:extLst>
          </p:cNvPr>
          <p:cNvSpPr/>
          <p:nvPr/>
        </p:nvSpPr>
        <p:spPr>
          <a:xfrm>
            <a:off x="5146920" y="4876578"/>
            <a:ext cx="1010306" cy="281103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ssembly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5F28F2A1-D29A-4012-A9F3-997A656FC327}"/>
              </a:ext>
            </a:extLst>
          </p:cNvPr>
          <p:cNvSpPr/>
          <p:nvPr/>
        </p:nvSpPr>
        <p:spPr>
          <a:xfrm>
            <a:off x="5154866" y="5286997"/>
            <a:ext cx="899909" cy="281102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F79FD306-DB6D-49D4-B442-22A883F67282}"/>
              </a:ext>
            </a:extLst>
          </p:cNvPr>
          <p:cNvSpPr/>
          <p:nvPr/>
        </p:nvSpPr>
        <p:spPr>
          <a:xfrm>
            <a:off x="6440176" y="4805215"/>
            <a:ext cx="886848" cy="271188"/>
          </a:xfrm>
          <a:prstGeom prst="roundRect">
            <a:avLst/>
          </a:prstGeom>
          <a:solidFill>
            <a:srgbClr val="7F7F7F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2CC36D0D-DA96-4014-BAE3-207316B4D01F}"/>
              </a:ext>
            </a:extLst>
          </p:cNvPr>
          <p:cNvSpPr/>
          <p:nvPr/>
        </p:nvSpPr>
        <p:spPr>
          <a:xfrm>
            <a:off x="6273201" y="3840887"/>
            <a:ext cx="1010306" cy="281103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ssembl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213E80-FC72-43C8-9440-7C084EC83EA6}"/>
              </a:ext>
            </a:extLst>
          </p:cNvPr>
          <p:cNvSpPr/>
          <p:nvPr/>
        </p:nvSpPr>
        <p:spPr>
          <a:xfrm>
            <a:off x="9951009" y="4573275"/>
            <a:ext cx="928026" cy="2470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ssembly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3FEC18A2-CA51-456E-A213-15E5E0B852F9}"/>
              </a:ext>
            </a:extLst>
          </p:cNvPr>
          <p:cNvSpPr/>
          <p:nvPr/>
        </p:nvSpPr>
        <p:spPr>
          <a:xfrm>
            <a:off x="6425420" y="3142387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717E7784-986F-45D6-8A75-35330343C58C}"/>
              </a:ext>
            </a:extLst>
          </p:cNvPr>
          <p:cNvSpPr/>
          <p:nvPr/>
        </p:nvSpPr>
        <p:spPr>
          <a:xfrm>
            <a:off x="6425420" y="2341618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EE185286-6008-48FC-AE08-19176A117885}"/>
              </a:ext>
            </a:extLst>
          </p:cNvPr>
          <p:cNvSpPr/>
          <p:nvPr/>
        </p:nvSpPr>
        <p:spPr>
          <a:xfrm>
            <a:off x="7398724" y="3639251"/>
            <a:ext cx="819751" cy="267781"/>
          </a:xfrm>
          <a:prstGeom prst="roundRect">
            <a:avLst/>
          </a:prstGeom>
          <a:solidFill>
            <a:srgbClr val="FB7405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</p:spTree>
    <p:extLst>
      <p:ext uri="{BB962C8B-B14F-4D97-AF65-F5344CB8AC3E}">
        <p14:creationId xmlns:p14="http://schemas.microsoft.com/office/powerpoint/2010/main" val="39555502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47" grpId="0" animBg="1"/>
      <p:bldP spid="14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reak the Object into Entities</a:t>
            </a:r>
            <a:br>
              <a:rPr lang="en-US" dirty="0"/>
            </a:br>
            <a:r>
              <a:rPr lang="en-US" dirty="0"/>
              <a:t>(Each “Entity” is from a different Modeling Perspective)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C308DFB-0016-410E-8BF8-D66F566EC48A}"/>
              </a:ext>
            </a:extLst>
          </p:cNvPr>
          <p:cNvGrpSpPr/>
          <p:nvPr/>
        </p:nvGrpSpPr>
        <p:grpSpPr>
          <a:xfrm>
            <a:off x="4772484" y="2134115"/>
            <a:ext cx="2785890" cy="2589769"/>
            <a:chOff x="3053247" y="4030487"/>
            <a:chExt cx="2785890" cy="258976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F1B01BA-25D5-4731-9B7C-71E3D8787F5F}"/>
                </a:ext>
              </a:extLst>
            </p:cNvPr>
            <p:cNvGrpSpPr/>
            <p:nvPr/>
          </p:nvGrpSpPr>
          <p:grpSpPr>
            <a:xfrm>
              <a:off x="3053247" y="4606226"/>
              <a:ext cx="1249060" cy="2014030"/>
              <a:chOff x="8253320" y="4014450"/>
              <a:chExt cx="1249060" cy="2014030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FE7C847-7039-4AAE-B1E1-DD1A79E00F14}"/>
                  </a:ext>
                </a:extLst>
              </p:cNvPr>
              <p:cNvSpPr/>
              <p:nvPr/>
            </p:nvSpPr>
            <p:spPr>
              <a:xfrm rot="16200000" flipV="1">
                <a:off x="7870835" y="4438509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1F788B44-68D4-4273-87C1-1D593834AF97}"/>
                  </a:ext>
                </a:extLst>
              </p:cNvPr>
              <p:cNvSpPr/>
              <p:nvPr/>
            </p:nvSpPr>
            <p:spPr>
              <a:xfrm rot="1800000">
                <a:off x="8253320" y="4698299"/>
                <a:ext cx="1249060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Function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61644DF-3563-4BED-9C4E-C96839190F29}"/>
                </a:ext>
              </a:extLst>
            </p:cNvPr>
            <p:cNvGrpSpPr/>
            <p:nvPr/>
          </p:nvGrpSpPr>
          <p:grpSpPr>
            <a:xfrm>
              <a:off x="3249913" y="4030487"/>
              <a:ext cx="2014030" cy="1165911"/>
              <a:chOff x="8449986" y="3438711"/>
              <a:chExt cx="2014030" cy="1165911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3D1C646-21FA-4A7B-AB3C-F2763063B884}"/>
                  </a:ext>
                </a:extLst>
              </p:cNvPr>
              <p:cNvSpPr/>
              <p:nvPr/>
            </p:nvSpPr>
            <p:spPr>
              <a:xfrm rot="12600000" flipV="1">
                <a:off x="8449986" y="3438711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8E215F7-8CE3-4ECA-9067-5BFD53FCEC7A}"/>
                  </a:ext>
                </a:extLst>
              </p:cNvPr>
              <p:cNvSpPr/>
              <p:nvPr/>
            </p:nvSpPr>
            <p:spPr>
              <a:xfrm>
                <a:off x="8935063" y="3682020"/>
                <a:ext cx="1043876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Physic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CB992FE-2A24-476D-A6CF-313ACFC68DC5}"/>
                </a:ext>
              </a:extLst>
            </p:cNvPr>
            <p:cNvGrpSpPr/>
            <p:nvPr/>
          </p:nvGrpSpPr>
          <p:grpSpPr>
            <a:xfrm>
              <a:off x="3825107" y="5033334"/>
              <a:ext cx="2014030" cy="1165911"/>
              <a:chOff x="9034416" y="4441558"/>
              <a:chExt cx="2014030" cy="1165911"/>
            </a:xfrm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BF5128F0-F3C5-4481-BEE8-34175CE25CFA}"/>
                  </a:ext>
                </a:extLst>
              </p:cNvPr>
              <p:cNvSpPr/>
              <p:nvPr/>
            </p:nvSpPr>
            <p:spPr>
              <a:xfrm rot="19800000" flipV="1">
                <a:off x="9034416" y="4441558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312D8EE-D2C8-40E1-8673-BBA312080CF8}"/>
                  </a:ext>
                </a:extLst>
              </p:cNvPr>
              <p:cNvSpPr/>
              <p:nvPr/>
            </p:nvSpPr>
            <p:spPr>
              <a:xfrm rot="19800000">
                <a:off x="9660557" y="4701348"/>
                <a:ext cx="761747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Other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</p:grp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F877652C-848D-450E-8D49-8CA19CBC5410}"/>
              </a:ext>
            </a:extLst>
          </p:cNvPr>
          <p:cNvSpPr/>
          <p:nvPr/>
        </p:nvSpPr>
        <p:spPr>
          <a:xfrm>
            <a:off x="1104231" y="3124733"/>
            <a:ext cx="2539313" cy="586946"/>
          </a:xfrm>
          <a:prstGeom prst="wedgeRoundRectCallout">
            <a:avLst>
              <a:gd name="adj1" fmla="val 99930"/>
              <a:gd name="adj2" fmla="val 31974"/>
              <a:gd name="adj3" fmla="val 1666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object’s role in a functional system</a:t>
            </a:r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B0DD3477-0E83-47E1-818D-5CA9A4CAD637}"/>
              </a:ext>
            </a:extLst>
          </p:cNvPr>
          <p:cNvSpPr/>
          <p:nvPr/>
        </p:nvSpPr>
        <p:spPr>
          <a:xfrm>
            <a:off x="1545587" y="2130124"/>
            <a:ext cx="2539313" cy="586946"/>
          </a:xfrm>
          <a:prstGeom prst="wedgeRoundRectCallout">
            <a:avLst>
              <a:gd name="adj1" fmla="val 101227"/>
              <a:gd name="adj2" fmla="val 41798"/>
              <a:gd name="adj3" fmla="val 1666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physical form of the object</a:t>
            </a:r>
          </a:p>
        </p:txBody>
      </p:sp>
      <p:sp>
        <p:nvSpPr>
          <p:cNvPr id="16" name="Speech Bubble: Rectangle with Corners Rounded 15">
            <a:extLst>
              <a:ext uri="{FF2B5EF4-FFF2-40B4-BE49-F238E27FC236}">
                <a16:creationId xmlns:a16="http://schemas.microsoft.com/office/drawing/2014/main" id="{2900228B-34E0-4779-8CE9-71EEE7AB9612}"/>
              </a:ext>
            </a:extLst>
          </p:cNvPr>
          <p:cNvSpPr/>
          <p:nvPr/>
        </p:nvSpPr>
        <p:spPr>
          <a:xfrm>
            <a:off x="7950801" y="2906798"/>
            <a:ext cx="2539313" cy="586946"/>
          </a:xfrm>
          <a:prstGeom prst="wedgeRoundRectCallout">
            <a:avLst>
              <a:gd name="adj1" fmla="val -89770"/>
              <a:gd name="adj2" fmla="val 34430"/>
              <a:gd name="adj3" fmla="val 1666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object’s role in a some other system</a:t>
            </a:r>
          </a:p>
        </p:txBody>
      </p:sp>
    </p:spTree>
    <p:extLst>
      <p:ext uri="{BB962C8B-B14F-4D97-AF65-F5344CB8AC3E}">
        <p14:creationId xmlns:p14="http://schemas.microsoft.com/office/powerpoint/2010/main" val="3027275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63029BD-7DBE-477A-8DD6-0BBEA0C7F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758952"/>
          </a:xfrm>
        </p:spPr>
        <p:txBody>
          <a:bodyPr/>
          <a:lstStyle/>
          <a:p>
            <a:r>
              <a:rPr lang="en-US" dirty="0"/>
              <a:t>BIS Mereolog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E61640C-9AF7-4113-9102-5C30AAEA8513}"/>
              </a:ext>
            </a:extLst>
          </p:cNvPr>
          <p:cNvSpPr/>
          <p:nvPr/>
        </p:nvSpPr>
        <p:spPr>
          <a:xfrm>
            <a:off x="6071943" y="1186774"/>
            <a:ext cx="2976664" cy="15175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79AA46-4618-4CBD-ACAF-77468C5B7FA9}"/>
              </a:ext>
            </a:extLst>
          </p:cNvPr>
          <p:cNvSpPr/>
          <p:nvPr/>
        </p:nvSpPr>
        <p:spPr>
          <a:xfrm>
            <a:off x="6112303" y="4097757"/>
            <a:ext cx="515566" cy="9824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B962E6F5-C8F1-4420-A9EB-F229C886D0C1}"/>
              </a:ext>
            </a:extLst>
          </p:cNvPr>
          <p:cNvSpPr/>
          <p:nvPr/>
        </p:nvSpPr>
        <p:spPr>
          <a:xfrm>
            <a:off x="6647323" y="4153712"/>
            <a:ext cx="875489" cy="35019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57CD83CC-A44A-449A-92C2-474E1F5ABBF2}"/>
              </a:ext>
            </a:extLst>
          </p:cNvPr>
          <p:cNvSpPr/>
          <p:nvPr/>
        </p:nvSpPr>
        <p:spPr>
          <a:xfrm>
            <a:off x="7600635" y="4153711"/>
            <a:ext cx="875489" cy="35019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F7AAA352-E5BB-439E-A9E2-9C1342DCCFE3}"/>
              </a:ext>
            </a:extLst>
          </p:cNvPr>
          <p:cNvSpPr/>
          <p:nvPr/>
        </p:nvSpPr>
        <p:spPr>
          <a:xfrm rot="19713797">
            <a:off x="7386626" y="4150054"/>
            <a:ext cx="389106" cy="272374"/>
          </a:xfrm>
          <a:prstGeom prst="pen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891F8E3B-BDC0-4923-A4A6-9145E16BA160}"/>
              </a:ext>
            </a:extLst>
          </p:cNvPr>
          <p:cNvSpPr/>
          <p:nvPr/>
        </p:nvSpPr>
        <p:spPr>
          <a:xfrm rot="19713797">
            <a:off x="6655472" y="4153582"/>
            <a:ext cx="389106" cy="125538"/>
          </a:xfrm>
          <a:prstGeom prst="pen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15201E-E4E3-4523-842E-892DF7F1D840}"/>
              </a:ext>
            </a:extLst>
          </p:cNvPr>
          <p:cNvSpPr/>
          <p:nvPr/>
        </p:nvSpPr>
        <p:spPr>
          <a:xfrm>
            <a:off x="6728228" y="4586592"/>
            <a:ext cx="515566" cy="102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C8688D3F-66AB-4333-B81E-DABF9C9EAE50}"/>
              </a:ext>
            </a:extLst>
          </p:cNvPr>
          <p:cNvSpPr/>
          <p:nvPr/>
        </p:nvSpPr>
        <p:spPr>
          <a:xfrm>
            <a:off x="7308645" y="5242607"/>
            <a:ext cx="875489" cy="35019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0B80EAB1-FDB5-4654-8E28-01D1C28E92BE}"/>
              </a:ext>
            </a:extLst>
          </p:cNvPr>
          <p:cNvSpPr/>
          <p:nvPr/>
        </p:nvSpPr>
        <p:spPr>
          <a:xfrm rot="16200000">
            <a:off x="8427059" y="4941816"/>
            <a:ext cx="875489" cy="44832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F065B087-5CAA-4A83-992D-C34976C26708}"/>
              </a:ext>
            </a:extLst>
          </p:cNvPr>
          <p:cNvSpPr/>
          <p:nvPr/>
        </p:nvSpPr>
        <p:spPr>
          <a:xfrm>
            <a:off x="6130586" y="5372082"/>
            <a:ext cx="361098" cy="234710"/>
          </a:xfrm>
          <a:prstGeom prst="triangle">
            <a:avLst>
              <a:gd name="adj" fmla="val 972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B045A8E2-84A7-40D4-9B83-5D01CDCD1FBC}"/>
              </a:ext>
            </a:extLst>
          </p:cNvPr>
          <p:cNvSpPr/>
          <p:nvPr/>
        </p:nvSpPr>
        <p:spPr>
          <a:xfrm>
            <a:off x="7840584" y="4586592"/>
            <a:ext cx="800056" cy="364183"/>
          </a:xfrm>
          <a:prstGeom prst="parallelogra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A6FBCA8-689E-48AD-9FF7-09393DD9C027}"/>
              </a:ext>
            </a:extLst>
          </p:cNvPr>
          <p:cNvSpPr/>
          <p:nvPr/>
        </p:nvSpPr>
        <p:spPr>
          <a:xfrm>
            <a:off x="8230457" y="5325290"/>
            <a:ext cx="515566" cy="2803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DFDBDDE4-97F9-4B87-8F73-9FA4F3581E1F}"/>
              </a:ext>
            </a:extLst>
          </p:cNvPr>
          <p:cNvSpPr/>
          <p:nvPr/>
        </p:nvSpPr>
        <p:spPr>
          <a:xfrm rot="10800000">
            <a:off x="8445605" y="4117441"/>
            <a:ext cx="515567" cy="3443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B12751F-1656-4D43-9193-BEFF27215AA5}"/>
              </a:ext>
            </a:extLst>
          </p:cNvPr>
          <p:cNvSpPr/>
          <p:nvPr/>
        </p:nvSpPr>
        <p:spPr>
          <a:xfrm>
            <a:off x="5691116" y="3862487"/>
            <a:ext cx="3738319" cy="1935200"/>
          </a:xfrm>
          <a:prstGeom prst="roundRect">
            <a:avLst/>
          </a:prstGeom>
          <a:noFill/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007E703-B724-42B5-9F89-E8264AA9FD4A}"/>
              </a:ext>
            </a:extLst>
          </p:cNvPr>
          <p:cNvSpPr/>
          <p:nvPr/>
        </p:nvSpPr>
        <p:spPr>
          <a:xfrm>
            <a:off x="7269730" y="4950774"/>
            <a:ext cx="1370910" cy="2918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7CCCC72-5000-45E1-8C5B-4EFCF7DC27BD}"/>
              </a:ext>
            </a:extLst>
          </p:cNvPr>
          <p:cNvCxnSpPr>
            <a:stCxn id="18" idx="0"/>
            <a:endCxn id="5" idx="2"/>
          </p:cNvCxnSpPr>
          <p:nvPr/>
        </p:nvCxnSpPr>
        <p:spPr>
          <a:xfrm flipH="1" flipV="1">
            <a:off x="7560275" y="2704289"/>
            <a:ext cx="1" cy="1158198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4304650F-6D42-4327-B9F6-685F41BBE38F}"/>
              </a:ext>
            </a:extLst>
          </p:cNvPr>
          <p:cNvSpPr txBox="1"/>
          <p:nvPr/>
        </p:nvSpPr>
        <p:spPr>
          <a:xfrm>
            <a:off x="7560275" y="3128969"/>
            <a:ext cx="1725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ub-model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8DC276D-300A-4C21-AEA4-334CD7ACD472}"/>
              </a:ext>
            </a:extLst>
          </p:cNvPr>
          <p:cNvSpPr txBox="1"/>
          <p:nvPr/>
        </p:nvSpPr>
        <p:spPr>
          <a:xfrm>
            <a:off x="299348" y="1231966"/>
            <a:ext cx="4946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rent-child = independent, but “owned by”</a:t>
            </a:r>
          </a:p>
          <a:p>
            <a:r>
              <a:rPr lang="en-US" dirty="0"/>
              <a:t>sub-model = a finer-grained model of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793BE4-17C4-497C-AC6D-CDA04353A4E0}"/>
              </a:ext>
            </a:extLst>
          </p:cNvPr>
          <p:cNvSpPr/>
          <p:nvPr/>
        </p:nvSpPr>
        <p:spPr>
          <a:xfrm>
            <a:off x="9739527" y="1195535"/>
            <a:ext cx="719033" cy="1653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09FA1CA-F53B-467A-8E1B-E9BB7A7ADEDA}"/>
              </a:ext>
            </a:extLst>
          </p:cNvPr>
          <p:cNvSpPr/>
          <p:nvPr/>
        </p:nvSpPr>
        <p:spPr>
          <a:xfrm>
            <a:off x="9644034" y="1804829"/>
            <a:ext cx="411480" cy="1653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09E7E18-4BE1-4851-AF0C-F50260E7C525}"/>
              </a:ext>
            </a:extLst>
          </p:cNvPr>
          <p:cNvSpPr/>
          <p:nvPr/>
        </p:nvSpPr>
        <p:spPr>
          <a:xfrm>
            <a:off x="9972762" y="2086342"/>
            <a:ext cx="411480" cy="1653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93DDDF4-A685-455F-923F-929A08F7FA7B}"/>
              </a:ext>
            </a:extLst>
          </p:cNvPr>
          <p:cNvCxnSpPr>
            <a:cxnSpLocks/>
            <a:stCxn id="30" idx="0"/>
            <a:endCxn id="29" idx="2"/>
          </p:cNvCxnSpPr>
          <p:nvPr/>
        </p:nvCxnSpPr>
        <p:spPr>
          <a:xfrm flipV="1">
            <a:off x="9849774" y="1360883"/>
            <a:ext cx="249270" cy="443946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70B67FA5-C9F7-4D17-9825-44C88BFBBAD0}"/>
              </a:ext>
            </a:extLst>
          </p:cNvPr>
          <p:cNvCxnSpPr>
            <a:cxnSpLocks/>
            <a:stCxn id="31" idx="0"/>
            <a:endCxn id="29" idx="2"/>
          </p:cNvCxnSpPr>
          <p:nvPr/>
        </p:nvCxnSpPr>
        <p:spPr>
          <a:xfrm flipH="1" flipV="1">
            <a:off x="10099044" y="1360883"/>
            <a:ext cx="79458" cy="725459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001DFEED-7A44-476E-B493-C4BFFD4372BC}"/>
              </a:ext>
            </a:extLst>
          </p:cNvPr>
          <p:cNvSpPr txBox="1"/>
          <p:nvPr/>
        </p:nvSpPr>
        <p:spPr>
          <a:xfrm>
            <a:off x="10078901" y="1467378"/>
            <a:ext cx="1597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rent-child</a:t>
            </a:r>
          </a:p>
        </p:txBody>
      </p:sp>
    </p:spTree>
    <p:extLst>
      <p:ext uri="{BB962C8B-B14F-4D97-AF65-F5344CB8AC3E}">
        <p14:creationId xmlns:p14="http://schemas.microsoft.com/office/powerpoint/2010/main" val="1097363081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76CED-D1A1-4A6F-908D-4A1E1AABE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CLAS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F5DEBD-2643-4267-B302-36E731BD1B2F}"/>
              </a:ext>
            </a:extLst>
          </p:cNvPr>
          <p:cNvGrpSpPr/>
          <p:nvPr/>
        </p:nvGrpSpPr>
        <p:grpSpPr>
          <a:xfrm>
            <a:off x="2935370" y="1602558"/>
            <a:ext cx="6321260" cy="3905336"/>
            <a:chOff x="1484503" y="3274041"/>
            <a:chExt cx="2975154" cy="183807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A3D4070-537E-4201-B68F-E0EB3DAEE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84503" y="3274041"/>
              <a:ext cx="1981372" cy="109737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B6B8852-65A4-443F-B988-C40ECC999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24179" y="3633712"/>
              <a:ext cx="1135478" cy="1478408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3C86A7C5-1A52-4D05-BE2D-F2833FE3470B}"/>
              </a:ext>
            </a:extLst>
          </p:cNvPr>
          <p:cNvSpPr/>
          <p:nvPr/>
        </p:nvSpPr>
        <p:spPr>
          <a:xfrm>
            <a:off x="3163279" y="237744"/>
            <a:ext cx="4903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4"/>
              </a:rPr>
              <a:t>https://toolkit.thenbs.com/articles/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741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76CED-D1A1-4A6F-908D-4A1E1AABE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CLAS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F5DEBD-2643-4267-B302-36E731BD1B2F}"/>
              </a:ext>
            </a:extLst>
          </p:cNvPr>
          <p:cNvGrpSpPr/>
          <p:nvPr/>
        </p:nvGrpSpPr>
        <p:grpSpPr>
          <a:xfrm>
            <a:off x="14730" y="1602558"/>
            <a:ext cx="6321260" cy="3905336"/>
            <a:chOff x="1484503" y="3274041"/>
            <a:chExt cx="2975154" cy="183807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A3D4070-537E-4201-B68F-E0EB3DAEE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84503" y="3274041"/>
              <a:ext cx="1981372" cy="109737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B6B8852-65A4-443F-B988-C40ECC999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24179" y="3633712"/>
              <a:ext cx="1135478" cy="1478408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3C86A7C5-1A52-4D05-BE2D-F2833FE3470B}"/>
              </a:ext>
            </a:extLst>
          </p:cNvPr>
          <p:cNvSpPr/>
          <p:nvPr/>
        </p:nvSpPr>
        <p:spPr>
          <a:xfrm>
            <a:off x="3163279" y="237744"/>
            <a:ext cx="4903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4"/>
              </a:rPr>
              <a:t>https://toolkit.thenbs.com/articles/classification</a:t>
            </a:r>
            <a:endParaRPr lang="en-US" dirty="0"/>
          </a:p>
        </p:txBody>
      </p:sp>
      <p:pic>
        <p:nvPicPr>
          <p:cNvPr id="3074" name="Picture 2" descr="Image result for uniclass">
            <a:extLst>
              <a:ext uri="{FF2B5EF4-FFF2-40B4-BE49-F238E27FC236}">
                <a16:creationId xmlns:a16="http://schemas.microsoft.com/office/drawing/2014/main" id="{6FE7FED5-6D76-472C-82A2-4642BD1933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261" y="1595437"/>
            <a:ext cx="5619750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59998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76CED-D1A1-4A6F-908D-4A1E1AABE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CLAS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F5DEBD-2643-4267-B302-36E731BD1B2F}"/>
              </a:ext>
            </a:extLst>
          </p:cNvPr>
          <p:cNvGrpSpPr/>
          <p:nvPr/>
        </p:nvGrpSpPr>
        <p:grpSpPr>
          <a:xfrm>
            <a:off x="705482" y="857058"/>
            <a:ext cx="3869110" cy="2390374"/>
            <a:chOff x="1484503" y="3274041"/>
            <a:chExt cx="2975154" cy="183807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A3D4070-537E-4201-B68F-E0EB3DAEE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84503" y="3274041"/>
              <a:ext cx="1981372" cy="109737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B6B8852-65A4-443F-B988-C40ECC999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24179" y="3633712"/>
              <a:ext cx="1135478" cy="1478408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3C86A7C5-1A52-4D05-BE2D-F2833FE3470B}"/>
              </a:ext>
            </a:extLst>
          </p:cNvPr>
          <p:cNvSpPr/>
          <p:nvPr/>
        </p:nvSpPr>
        <p:spPr>
          <a:xfrm>
            <a:off x="3163279" y="237744"/>
            <a:ext cx="4903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4"/>
              </a:rPr>
              <a:t>https://toolkit.thenbs.com/articles/classification</a:t>
            </a:r>
            <a:endParaRPr lang="en-US" dirty="0"/>
          </a:p>
        </p:txBody>
      </p:sp>
      <p:pic>
        <p:nvPicPr>
          <p:cNvPr id="28" name="Picture 2" descr="Image result for uniclass">
            <a:extLst>
              <a:ext uri="{FF2B5EF4-FFF2-40B4-BE49-F238E27FC236}">
                <a16:creationId xmlns:a16="http://schemas.microsoft.com/office/drawing/2014/main" id="{4568E248-0C0D-4129-B5B2-F76266473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951" y="3686347"/>
            <a:ext cx="3064682" cy="1999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mage result for uniclass">
            <a:extLst>
              <a:ext uri="{FF2B5EF4-FFF2-40B4-BE49-F238E27FC236}">
                <a16:creationId xmlns:a16="http://schemas.microsoft.com/office/drawing/2014/main" id="{76D2B5B7-9540-4FB0-AFAB-73BD331864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0224" y="1139862"/>
            <a:ext cx="7155303" cy="4751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24330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76CED-D1A1-4A6F-908D-4A1E1AABE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CLAS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C86A7C5-1A52-4D05-BE2D-F2833FE3470B}"/>
              </a:ext>
            </a:extLst>
          </p:cNvPr>
          <p:cNvSpPr/>
          <p:nvPr/>
        </p:nvSpPr>
        <p:spPr>
          <a:xfrm>
            <a:off x="3163279" y="237744"/>
            <a:ext cx="4903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2"/>
              </a:rPr>
              <a:t>https://toolkit.thenbs.com/articles/classification</a:t>
            </a:r>
            <a:endParaRPr lang="en-US" dirty="0"/>
          </a:p>
        </p:txBody>
      </p:sp>
      <p:pic>
        <p:nvPicPr>
          <p:cNvPr id="5124" name="Picture 4" descr="Image result for uniclass">
            <a:extLst>
              <a:ext uri="{FF2B5EF4-FFF2-40B4-BE49-F238E27FC236}">
                <a16:creationId xmlns:a16="http://schemas.microsoft.com/office/drawing/2014/main" id="{76D2B5B7-9540-4FB0-AFAB-73BD331864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986" y="1139862"/>
            <a:ext cx="7155303" cy="4751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D6942DE-9C79-474D-992D-2E39A9B07AA9}"/>
              </a:ext>
            </a:extLst>
          </p:cNvPr>
          <p:cNvSpPr/>
          <p:nvPr/>
        </p:nvSpPr>
        <p:spPr>
          <a:xfrm>
            <a:off x="7527768" y="1759923"/>
            <a:ext cx="3599974" cy="3586086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31D9004-4B46-4A7B-9065-D001BAA02308}"/>
              </a:ext>
            </a:extLst>
          </p:cNvPr>
          <p:cNvSpPr/>
          <p:nvPr/>
        </p:nvSpPr>
        <p:spPr>
          <a:xfrm>
            <a:off x="7649406" y="2736548"/>
            <a:ext cx="3303442" cy="248087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14D20CB-17C9-4141-9C74-37596619EF25}"/>
              </a:ext>
            </a:extLst>
          </p:cNvPr>
          <p:cNvSpPr/>
          <p:nvPr/>
        </p:nvSpPr>
        <p:spPr>
          <a:xfrm>
            <a:off x="7758923" y="3476318"/>
            <a:ext cx="3066125" cy="162391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7D575FF-1992-48B4-89FB-1F45912D03EC}"/>
              </a:ext>
            </a:extLst>
          </p:cNvPr>
          <p:cNvSpPr/>
          <p:nvPr/>
        </p:nvSpPr>
        <p:spPr>
          <a:xfrm>
            <a:off x="8232688" y="1525905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lex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9112861-6769-4701-AFE0-FEE14F5068C3}"/>
              </a:ext>
            </a:extLst>
          </p:cNvPr>
          <p:cNvSpPr/>
          <p:nvPr/>
        </p:nvSpPr>
        <p:spPr>
          <a:xfrm>
            <a:off x="8232688" y="2542331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ntity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844FDED-9E2F-45F8-BE31-C9522412046B}"/>
              </a:ext>
            </a:extLst>
          </p:cNvPr>
          <p:cNvSpPr/>
          <p:nvPr/>
        </p:nvSpPr>
        <p:spPr>
          <a:xfrm>
            <a:off x="8232688" y="3247432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275BEB0-3E09-453E-866D-D1A0D68F2F95}"/>
              </a:ext>
            </a:extLst>
          </p:cNvPr>
          <p:cNvSpPr/>
          <p:nvPr/>
        </p:nvSpPr>
        <p:spPr>
          <a:xfrm>
            <a:off x="9686649" y="2903960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A9D819E-6993-408F-948C-01E893A2F3FF}"/>
              </a:ext>
            </a:extLst>
          </p:cNvPr>
          <p:cNvSpPr/>
          <p:nvPr/>
        </p:nvSpPr>
        <p:spPr>
          <a:xfrm>
            <a:off x="7921235" y="4037230"/>
            <a:ext cx="2825434" cy="90306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D0BFA47-C22E-495A-B1A4-75C1F4FFF375}"/>
              </a:ext>
            </a:extLst>
          </p:cNvPr>
          <p:cNvSpPr/>
          <p:nvPr/>
        </p:nvSpPr>
        <p:spPr>
          <a:xfrm>
            <a:off x="8232688" y="3817773"/>
            <a:ext cx="1060020" cy="438915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D0C9A8C-3E2D-410B-A916-09D620164FAB}"/>
              </a:ext>
            </a:extLst>
          </p:cNvPr>
          <p:cNvSpPr/>
          <p:nvPr/>
        </p:nvSpPr>
        <p:spPr>
          <a:xfrm>
            <a:off x="8232688" y="4405328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AFFD6BE-BE37-4A16-B574-749A2C3B4F10}"/>
              </a:ext>
            </a:extLst>
          </p:cNvPr>
          <p:cNvSpPr txBox="1"/>
          <p:nvPr/>
        </p:nvSpPr>
        <p:spPr>
          <a:xfrm>
            <a:off x="8024928" y="996696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UNICLASS</a:t>
            </a:r>
          </a:p>
        </p:txBody>
      </p:sp>
    </p:spTree>
    <p:extLst>
      <p:ext uri="{BB962C8B-B14F-4D97-AF65-F5344CB8AC3E}">
        <p14:creationId xmlns:p14="http://schemas.microsoft.com/office/powerpoint/2010/main" val="21594391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465B3B0-34B9-4014-9401-448E18491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FC Spatial/Physical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6C04FF8-CC8B-4EF6-B9C3-55D66B91DA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3864" y="28673"/>
            <a:ext cx="6708497" cy="6534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9515304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4517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Spatial/Physical Hierarchy: IFC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1EB7FD00-3BE5-44A2-B044-EEFDFDFF9B5A}"/>
              </a:ext>
            </a:extLst>
          </p:cNvPr>
          <p:cNvSpPr/>
          <p:nvPr/>
        </p:nvSpPr>
        <p:spPr>
          <a:xfrm>
            <a:off x="712189" y="1764948"/>
            <a:ext cx="3599974" cy="3586086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26EE902-441C-4019-B1AF-EB0A61448CD2}"/>
              </a:ext>
            </a:extLst>
          </p:cNvPr>
          <p:cNvSpPr/>
          <p:nvPr/>
        </p:nvSpPr>
        <p:spPr>
          <a:xfrm>
            <a:off x="833827" y="2741573"/>
            <a:ext cx="3303442" cy="248087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4CA37507-E441-4031-9858-B21B94E29EBC}"/>
              </a:ext>
            </a:extLst>
          </p:cNvPr>
          <p:cNvSpPr/>
          <p:nvPr/>
        </p:nvSpPr>
        <p:spPr>
          <a:xfrm>
            <a:off x="943345" y="3481343"/>
            <a:ext cx="2644018" cy="162391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CA62EA8B-CFA0-49F7-ACF4-DFA1956DEDAA}"/>
              </a:ext>
            </a:extLst>
          </p:cNvPr>
          <p:cNvSpPr/>
          <p:nvPr/>
        </p:nvSpPr>
        <p:spPr>
          <a:xfrm>
            <a:off x="1417109" y="1530930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lex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366EE56A-B630-4A75-9228-E907462E8F47}"/>
              </a:ext>
            </a:extLst>
          </p:cNvPr>
          <p:cNvSpPr/>
          <p:nvPr/>
        </p:nvSpPr>
        <p:spPr>
          <a:xfrm>
            <a:off x="1417109" y="2547356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ntity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251A06B5-C57D-4FDB-9E27-34DA1196090A}"/>
              </a:ext>
            </a:extLst>
          </p:cNvPr>
          <p:cNvSpPr/>
          <p:nvPr/>
        </p:nvSpPr>
        <p:spPr>
          <a:xfrm>
            <a:off x="1417109" y="3252457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7699435E-933F-42C0-90E1-30F273AA60A4}"/>
              </a:ext>
            </a:extLst>
          </p:cNvPr>
          <p:cNvSpPr/>
          <p:nvPr/>
        </p:nvSpPr>
        <p:spPr>
          <a:xfrm>
            <a:off x="2871070" y="2908985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0569D9E0-4BD8-43A9-B1E3-A9AAF7473D5A}"/>
              </a:ext>
            </a:extLst>
          </p:cNvPr>
          <p:cNvSpPr/>
          <p:nvPr/>
        </p:nvSpPr>
        <p:spPr>
          <a:xfrm>
            <a:off x="1105656" y="4042255"/>
            <a:ext cx="2308535" cy="90306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EA670A2C-B024-4218-859D-629AB5CD8B4A}"/>
              </a:ext>
            </a:extLst>
          </p:cNvPr>
          <p:cNvSpPr/>
          <p:nvPr/>
        </p:nvSpPr>
        <p:spPr>
          <a:xfrm>
            <a:off x="1417109" y="3822798"/>
            <a:ext cx="1060020" cy="438915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D7FC7BC-7529-45A1-BA06-6CE401543296}"/>
              </a:ext>
            </a:extLst>
          </p:cNvPr>
          <p:cNvSpPr/>
          <p:nvPr/>
        </p:nvSpPr>
        <p:spPr>
          <a:xfrm>
            <a:off x="1417109" y="4410353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94174104-8A27-4ABC-880C-473335BB30E9}"/>
              </a:ext>
            </a:extLst>
          </p:cNvPr>
          <p:cNvSpPr txBox="1"/>
          <p:nvPr/>
        </p:nvSpPr>
        <p:spPr>
          <a:xfrm>
            <a:off x="1209349" y="1001721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UNICLASS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F0F7C761-DBFD-4C19-B812-1EFD52BDA1FD}"/>
              </a:ext>
            </a:extLst>
          </p:cNvPr>
          <p:cNvSpPr/>
          <p:nvPr/>
        </p:nvSpPr>
        <p:spPr>
          <a:xfrm>
            <a:off x="4950635" y="1270107"/>
            <a:ext cx="3896966" cy="3622136"/>
          </a:xfrm>
          <a:prstGeom prst="roundRect">
            <a:avLst>
              <a:gd name="adj" fmla="val 12417"/>
            </a:avLst>
          </a:pr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9B91A79-F17F-4CC6-84C7-74DD35DA06AB}"/>
              </a:ext>
            </a:extLst>
          </p:cNvPr>
          <p:cNvSpPr/>
          <p:nvPr/>
        </p:nvSpPr>
        <p:spPr>
          <a:xfrm>
            <a:off x="5073186" y="1774425"/>
            <a:ext cx="3599974" cy="2954813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803B72D-9359-4AEA-AA16-740DABFD75E0}"/>
              </a:ext>
            </a:extLst>
          </p:cNvPr>
          <p:cNvSpPr/>
          <p:nvPr/>
        </p:nvSpPr>
        <p:spPr>
          <a:xfrm>
            <a:off x="5194824" y="2713343"/>
            <a:ext cx="3303442" cy="181978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0CA37C85-F8A2-44C9-A222-CF75D661BF55}"/>
              </a:ext>
            </a:extLst>
          </p:cNvPr>
          <p:cNvSpPr/>
          <p:nvPr/>
        </p:nvSpPr>
        <p:spPr>
          <a:xfrm>
            <a:off x="5304342" y="3498956"/>
            <a:ext cx="2973954" cy="896575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5232C2BA-7A98-498C-A7FC-AAE1C292CAEC}"/>
              </a:ext>
            </a:extLst>
          </p:cNvPr>
          <p:cNvSpPr/>
          <p:nvPr/>
        </p:nvSpPr>
        <p:spPr>
          <a:xfrm>
            <a:off x="5782821" y="1020365"/>
            <a:ext cx="1060020" cy="438915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ject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661F1C4C-D249-4719-96AF-69D975428010}"/>
              </a:ext>
            </a:extLst>
          </p:cNvPr>
          <p:cNvSpPr/>
          <p:nvPr/>
        </p:nvSpPr>
        <p:spPr>
          <a:xfrm>
            <a:off x="5782821" y="2519125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acility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32CDD8B2-EEE1-4791-A5AC-BD2F9C397517}"/>
              </a:ext>
            </a:extLst>
          </p:cNvPr>
          <p:cNvSpPr/>
          <p:nvPr/>
        </p:nvSpPr>
        <p:spPr>
          <a:xfrm>
            <a:off x="5782821" y="3252509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err="1"/>
              <a:t>FacilityPart</a:t>
            </a:r>
            <a:endParaRPr lang="en-US" sz="1400" dirty="0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92BF8CF2-E0EE-4003-A3E7-112DC93D2E2E}"/>
              </a:ext>
            </a:extLst>
          </p:cNvPr>
          <p:cNvSpPr/>
          <p:nvPr/>
        </p:nvSpPr>
        <p:spPr>
          <a:xfrm>
            <a:off x="5782821" y="1540408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it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771BE95-B326-4B85-9322-B0D695F075EE}"/>
              </a:ext>
            </a:extLst>
          </p:cNvPr>
          <p:cNvSpPr txBox="1"/>
          <p:nvPr/>
        </p:nvSpPr>
        <p:spPr>
          <a:xfrm>
            <a:off x="5194824" y="604703"/>
            <a:ext cx="28740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Spatial Structure Hierarchy</a:t>
            </a: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0942527D-7170-4E5E-9F67-99D155E35EA7}"/>
              </a:ext>
            </a:extLst>
          </p:cNvPr>
          <p:cNvSpPr/>
          <p:nvPr/>
        </p:nvSpPr>
        <p:spPr>
          <a:xfrm>
            <a:off x="7111921" y="3710397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F79FD306-DB6D-49D4-B442-22A883F67282}"/>
              </a:ext>
            </a:extLst>
          </p:cNvPr>
          <p:cNvSpPr/>
          <p:nvPr/>
        </p:nvSpPr>
        <p:spPr>
          <a:xfrm>
            <a:off x="10395939" y="5434897"/>
            <a:ext cx="886848" cy="271188"/>
          </a:xfrm>
          <a:prstGeom prst="roundRect">
            <a:avLst/>
          </a:prstGeom>
          <a:solidFill>
            <a:srgbClr val="7F7F7F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3FEC18A2-CA51-456E-A213-15E5E0B852F9}"/>
              </a:ext>
            </a:extLst>
          </p:cNvPr>
          <p:cNvSpPr/>
          <p:nvPr/>
        </p:nvSpPr>
        <p:spPr>
          <a:xfrm>
            <a:off x="7111921" y="2872879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717E7784-986F-45D6-8A75-35330343C58C}"/>
              </a:ext>
            </a:extLst>
          </p:cNvPr>
          <p:cNvSpPr/>
          <p:nvPr/>
        </p:nvSpPr>
        <p:spPr>
          <a:xfrm>
            <a:off x="7111921" y="2072110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EE185286-6008-48FC-AE08-19176A117885}"/>
              </a:ext>
            </a:extLst>
          </p:cNvPr>
          <p:cNvSpPr/>
          <p:nvPr/>
        </p:nvSpPr>
        <p:spPr>
          <a:xfrm>
            <a:off x="8870447" y="6033458"/>
            <a:ext cx="819751" cy="267781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0158EF-946A-4E3E-91AA-80A6105D1A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0051" y="5893260"/>
            <a:ext cx="2170224" cy="6930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1C05BB69-D5C2-4BAF-96A8-52F2FD5B2516}"/>
              </a:ext>
            </a:extLst>
          </p:cNvPr>
          <p:cNvSpPr txBox="1"/>
          <p:nvPr/>
        </p:nvSpPr>
        <p:spPr>
          <a:xfrm>
            <a:off x="8728333" y="5293797"/>
            <a:ext cx="137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contains 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D60DC790-F3BA-4BE0-B665-8572B61C5069}"/>
              </a:ext>
            </a:extLst>
          </p:cNvPr>
          <p:cNvSpPr/>
          <p:nvPr/>
        </p:nvSpPr>
        <p:spPr>
          <a:xfrm>
            <a:off x="6159898" y="5351034"/>
            <a:ext cx="2291471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/>
              <a:t>SpatialStructureElement</a:t>
            </a:r>
            <a:endParaRPr lang="en-US" sz="14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D755FB11-A8FA-4356-AEC4-8B46A2DE94BC}"/>
              </a:ext>
            </a:extLst>
          </p:cNvPr>
          <p:cNvCxnSpPr>
            <a:cxnSpLocks/>
            <a:stCxn id="71" idx="1"/>
            <a:endCxn id="86" idx="3"/>
          </p:cNvCxnSpPr>
          <p:nvPr/>
        </p:nvCxnSpPr>
        <p:spPr>
          <a:xfrm flipH="1" flipV="1">
            <a:off x="8451369" y="5570492"/>
            <a:ext cx="419078" cy="596857"/>
          </a:xfrm>
          <a:prstGeom prst="straightConnector1">
            <a:avLst/>
          </a:prstGeom>
          <a:ln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E0A8E1B0-B67B-4FDD-9900-C8A9609ED2A3}"/>
              </a:ext>
            </a:extLst>
          </p:cNvPr>
          <p:cNvSpPr txBox="1"/>
          <p:nvPr/>
        </p:nvSpPr>
        <p:spPr>
          <a:xfrm>
            <a:off x="7682197" y="5864363"/>
            <a:ext cx="137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ervice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7C05B9F-946E-4C49-9C31-DEC90A5C61B3}"/>
              </a:ext>
            </a:extLst>
          </p:cNvPr>
          <p:cNvSpPr txBox="1"/>
          <p:nvPr/>
        </p:nvSpPr>
        <p:spPr>
          <a:xfrm>
            <a:off x="8946062" y="5706756"/>
            <a:ext cx="137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groups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F9AC6268-38A4-407B-AE88-361FB97C250D}"/>
              </a:ext>
            </a:extLst>
          </p:cNvPr>
          <p:cNvCxnSpPr>
            <a:cxnSpLocks/>
            <a:stCxn id="86" idx="3"/>
            <a:endCxn id="84" idx="1"/>
          </p:cNvCxnSpPr>
          <p:nvPr/>
        </p:nvCxnSpPr>
        <p:spPr>
          <a:xfrm flipV="1">
            <a:off x="8451369" y="5570491"/>
            <a:ext cx="1944570" cy="1"/>
          </a:xfrm>
          <a:prstGeom prst="straightConnector1">
            <a:avLst/>
          </a:prstGeom>
          <a:ln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9258CDC2-3A26-44F5-A9F1-BDFD037757D6}"/>
              </a:ext>
            </a:extLst>
          </p:cNvPr>
          <p:cNvCxnSpPr>
            <a:cxnSpLocks/>
            <a:stCxn id="71" idx="3"/>
            <a:endCxn id="84" idx="1"/>
          </p:cNvCxnSpPr>
          <p:nvPr/>
        </p:nvCxnSpPr>
        <p:spPr>
          <a:xfrm flipV="1">
            <a:off x="9690198" y="5570491"/>
            <a:ext cx="705741" cy="596858"/>
          </a:xfrm>
          <a:prstGeom prst="straightConnector1">
            <a:avLst/>
          </a:prstGeom>
          <a:ln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FBFE18D4-A732-42A9-8AEF-7B3C47619EE9}"/>
              </a:ext>
            </a:extLst>
          </p:cNvPr>
          <p:cNvSpPr txBox="1"/>
          <p:nvPr/>
        </p:nvSpPr>
        <p:spPr>
          <a:xfrm rot="20482469">
            <a:off x="4303990" y="5620368"/>
            <a:ext cx="16803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/>
              <a:t>CompositionType</a:t>
            </a:r>
            <a:endParaRPr lang="en-US" sz="1400" dirty="0"/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5BD2136F-FE09-44E6-A8B1-D6B626BC6F47}"/>
              </a:ext>
            </a:extLst>
          </p:cNvPr>
          <p:cNvCxnSpPr>
            <a:cxnSpLocks/>
            <a:stCxn id="86" idx="1"/>
            <a:endCxn id="3" idx="3"/>
          </p:cNvCxnSpPr>
          <p:nvPr/>
        </p:nvCxnSpPr>
        <p:spPr>
          <a:xfrm flipH="1">
            <a:off x="4270275" y="5570492"/>
            <a:ext cx="1889623" cy="669304"/>
          </a:xfrm>
          <a:prstGeom prst="straightConnector1">
            <a:avLst/>
          </a:prstGeom>
          <a:ln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790B580A-3158-4759-8605-92C81F04DFD5}"/>
              </a:ext>
            </a:extLst>
          </p:cNvPr>
          <p:cNvSpPr txBox="1"/>
          <p:nvPr/>
        </p:nvSpPr>
        <p:spPr>
          <a:xfrm>
            <a:off x="9043353" y="2272193"/>
            <a:ext cx="28740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lement Containment</a:t>
            </a:r>
          </a:p>
        </p:txBody>
      </p:sp>
      <p:sp>
        <p:nvSpPr>
          <p:cNvPr id="29" name="Speech Bubble: Rectangle with Corners Rounded 28">
            <a:extLst>
              <a:ext uri="{FF2B5EF4-FFF2-40B4-BE49-F238E27FC236}">
                <a16:creationId xmlns:a16="http://schemas.microsoft.com/office/drawing/2014/main" id="{69136457-88D4-4479-9665-1A67656B66D9}"/>
              </a:ext>
            </a:extLst>
          </p:cNvPr>
          <p:cNvSpPr/>
          <p:nvPr/>
        </p:nvSpPr>
        <p:spPr>
          <a:xfrm>
            <a:off x="5235978" y="5971782"/>
            <a:ext cx="2431560" cy="536499"/>
          </a:xfrm>
          <a:prstGeom prst="wedgeRoundRectCallout">
            <a:avLst>
              <a:gd name="adj1" fmla="val -59065"/>
              <a:gd name="adj2" fmla="val -47917"/>
              <a:gd name="adj3" fmla="val 16667"/>
            </a:avLst>
          </a:prstGeom>
          <a:solidFill>
            <a:srgbClr val="FFC00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Should we sub-class where they use </a:t>
            </a:r>
            <a:r>
              <a:rPr lang="en-US" sz="1200" dirty="0" err="1">
                <a:solidFill>
                  <a:schemeClr val="tx2"/>
                </a:solidFill>
              </a:rPr>
              <a:t>CompositionType</a:t>
            </a:r>
            <a:r>
              <a:rPr lang="en-US" sz="1200" dirty="0">
                <a:solidFill>
                  <a:schemeClr val="tx2"/>
                </a:solidFill>
              </a:rPr>
              <a:t> </a:t>
            </a:r>
            <a:r>
              <a:rPr lang="en-US" sz="1200" dirty="0" err="1">
                <a:solidFill>
                  <a:schemeClr val="tx2"/>
                </a:solidFill>
              </a:rPr>
              <a:t>enum</a:t>
            </a:r>
            <a:r>
              <a:rPr lang="en-US" sz="1200" dirty="0">
                <a:solidFill>
                  <a:schemeClr val="tx2"/>
                </a:solidFill>
              </a:rPr>
              <a:t>?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56A3E5B2-09A5-48DC-9B01-3B50106640C0}"/>
              </a:ext>
            </a:extLst>
          </p:cNvPr>
          <p:cNvSpPr/>
          <p:nvPr/>
        </p:nvSpPr>
        <p:spPr>
          <a:xfrm>
            <a:off x="9189148" y="2695190"/>
            <a:ext cx="2790097" cy="1065290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AC2E5393-A13A-47D2-AC65-89BE34EB35B3}"/>
              </a:ext>
            </a:extLst>
          </p:cNvPr>
          <p:cNvSpPr/>
          <p:nvPr/>
        </p:nvSpPr>
        <p:spPr>
          <a:xfrm>
            <a:off x="10491710" y="2986571"/>
            <a:ext cx="1364321" cy="641381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70A518BC-4A84-470C-8EC9-6D2A6D03F87A}"/>
              </a:ext>
            </a:extLst>
          </p:cNvPr>
          <p:cNvSpPr/>
          <p:nvPr/>
        </p:nvSpPr>
        <p:spPr>
          <a:xfrm>
            <a:off x="10680090" y="2842530"/>
            <a:ext cx="1010306" cy="281103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ssembly</a:t>
            </a: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33C66562-58B4-4650-812A-875A35B1B7C7}"/>
              </a:ext>
            </a:extLst>
          </p:cNvPr>
          <p:cNvSpPr/>
          <p:nvPr/>
        </p:nvSpPr>
        <p:spPr>
          <a:xfrm>
            <a:off x="9414407" y="2890709"/>
            <a:ext cx="886848" cy="271188"/>
          </a:xfrm>
          <a:prstGeom prst="roundRect">
            <a:avLst/>
          </a:prstGeom>
          <a:solidFill>
            <a:srgbClr val="7F7F7F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7407B134-61E1-46C7-B6E3-C05EE027EE68}"/>
              </a:ext>
            </a:extLst>
          </p:cNvPr>
          <p:cNvSpPr/>
          <p:nvPr/>
        </p:nvSpPr>
        <p:spPr>
          <a:xfrm>
            <a:off x="10741819" y="3230651"/>
            <a:ext cx="886848" cy="271188"/>
          </a:xfrm>
          <a:prstGeom prst="roundRect">
            <a:avLst/>
          </a:prstGeom>
          <a:solidFill>
            <a:srgbClr val="7F7F7F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</p:spTree>
    <p:extLst>
      <p:ext uri="{BB962C8B-B14F-4D97-AF65-F5344CB8AC3E}">
        <p14:creationId xmlns:p14="http://schemas.microsoft.com/office/powerpoint/2010/main" val="3508257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A23823-68B8-4F4B-A63B-09788ACE7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34E5140-3F30-4FCD-A92B-254CFB1F18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782" y="1362841"/>
            <a:ext cx="11830218" cy="474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50734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63029BD-7DBE-477A-8DD6-0BBEA0C7F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758952"/>
          </a:xfrm>
        </p:spPr>
        <p:txBody>
          <a:bodyPr/>
          <a:lstStyle/>
          <a:p>
            <a:r>
              <a:rPr lang="en-US" dirty="0"/>
              <a:t>BIS Mereolog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E61640C-9AF7-4113-9102-5C30AAEA8513}"/>
              </a:ext>
            </a:extLst>
          </p:cNvPr>
          <p:cNvSpPr/>
          <p:nvPr/>
        </p:nvSpPr>
        <p:spPr>
          <a:xfrm>
            <a:off x="6071943" y="1186774"/>
            <a:ext cx="2976664" cy="15175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79AA46-4618-4CBD-ACAF-77468C5B7FA9}"/>
              </a:ext>
            </a:extLst>
          </p:cNvPr>
          <p:cNvSpPr/>
          <p:nvPr/>
        </p:nvSpPr>
        <p:spPr>
          <a:xfrm>
            <a:off x="6112303" y="4097757"/>
            <a:ext cx="515566" cy="9824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B962E6F5-C8F1-4420-A9EB-F229C886D0C1}"/>
              </a:ext>
            </a:extLst>
          </p:cNvPr>
          <p:cNvSpPr/>
          <p:nvPr/>
        </p:nvSpPr>
        <p:spPr>
          <a:xfrm>
            <a:off x="6647323" y="4153712"/>
            <a:ext cx="875489" cy="35019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57CD83CC-A44A-449A-92C2-474E1F5ABBF2}"/>
              </a:ext>
            </a:extLst>
          </p:cNvPr>
          <p:cNvSpPr/>
          <p:nvPr/>
        </p:nvSpPr>
        <p:spPr>
          <a:xfrm>
            <a:off x="7600635" y="4153711"/>
            <a:ext cx="875489" cy="35019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F7AAA352-E5BB-439E-A9E2-9C1342DCCFE3}"/>
              </a:ext>
            </a:extLst>
          </p:cNvPr>
          <p:cNvSpPr/>
          <p:nvPr/>
        </p:nvSpPr>
        <p:spPr>
          <a:xfrm rot="19713797">
            <a:off x="7386626" y="4150054"/>
            <a:ext cx="389106" cy="272374"/>
          </a:xfrm>
          <a:prstGeom prst="pen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891F8E3B-BDC0-4923-A4A6-9145E16BA160}"/>
              </a:ext>
            </a:extLst>
          </p:cNvPr>
          <p:cNvSpPr/>
          <p:nvPr/>
        </p:nvSpPr>
        <p:spPr>
          <a:xfrm rot="19713797">
            <a:off x="6655472" y="4153582"/>
            <a:ext cx="389106" cy="125538"/>
          </a:xfrm>
          <a:prstGeom prst="pen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15201E-E4E3-4523-842E-892DF7F1D840}"/>
              </a:ext>
            </a:extLst>
          </p:cNvPr>
          <p:cNvSpPr/>
          <p:nvPr/>
        </p:nvSpPr>
        <p:spPr>
          <a:xfrm>
            <a:off x="6728228" y="4586592"/>
            <a:ext cx="515566" cy="102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C8688D3F-66AB-4333-B81E-DABF9C9EAE50}"/>
              </a:ext>
            </a:extLst>
          </p:cNvPr>
          <p:cNvSpPr/>
          <p:nvPr/>
        </p:nvSpPr>
        <p:spPr>
          <a:xfrm>
            <a:off x="7308645" y="5242607"/>
            <a:ext cx="875489" cy="35019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0B80EAB1-FDB5-4654-8E28-01D1C28E92BE}"/>
              </a:ext>
            </a:extLst>
          </p:cNvPr>
          <p:cNvSpPr/>
          <p:nvPr/>
        </p:nvSpPr>
        <p:spPr>
          <a:xfrm rot="16200000">
            <a:off x="8427059" y="4941816"/>
            <a:ext cx="875489" cy="44832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F065B087-5CAA-4A83-992D-C34976C26708}"/>
              </a:ext>
            </a:extLst>
          </p:cNvPr>
          <p:cNvSpPr/>
          <p:nvPr/>
        </p:nvSpPr>
        <p:spPr>
          <a:xfrm>
            <a:off x="6130586" y="5372082"/>
            <a:ext cx="361098" cy="234710"/>
          </a:xfrm>
          <a:prstGeom prst="triangle">
            <a:avLst>
              <a:gd name="adj" fmla="val 972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B045A8E2-84A7-40D4-9B83-5D01CDCD1FBC}"/>
              </a:ext>
            </a:extLst>
          </p:cNvPr>
          <p:cNvSpPr/>
          <p:nvPr/>
        </p:nvSpPr>
        <p:spPr>
          <a:xfrm>
            <a:off x="7840584" y="4586592"/>
            <a:ext cx="800056" cy="364183"/>
          </a:xfrm>
          <a:prstGeom prst="parallelogra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A6FBCA8-689E-48AD-9FF7-09393DD9C027}"/>
              </a:ext>
            </a:extLst>
          </p:cNvPr>
          <p:cNvSpPr/>
          <p:nvPr/>
        </p:nvSpPr>
        <p:spPr>
          <a:xfrm>
            <a:off x="8230457" y="5325290"/>
            <a:ext cx="515566" cy="2803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DFDBDDE4-97F9-4B87-8F73-9FA4F3581E1F}"/>
              </a:ext>
            </a:extLst>
          </p:cNvPr>
          <p:cNvSpPr/>
          <p:nvPr/>
        </p:nvSpPr>
        <p:spPr>
          <a:xfrm rot="10800000">
            <a:off x="8445605" y="4117441"/>
            <a:ext cx="515567" cy="3443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B12751F-1656-4D43-9193-BEFF27215AA5}"/>
              </a:ext>
            </a:extLst>
          </p:cNvPr>
          <p:cNvSpPr/>
          <p:nvPr/>
        </p:nvSpPr>
        <p:spPr>
          <a:xfrm>
            <a:off x="5691116" y="3862487"/>
            <a:ext cx="3738319" cy="1935200"/>
          </a:xfrm>
          <a:prstGeom prst="roundRect">
            <a:avLst/>
          </a:prstGeom>
          <a:noFill/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007E703-B724-42B5-9F89-E8264AA9FD4A}"/>
              </a:ext>
            </a:extLst>
          </p:cNvPr>
          <p:cNvSpPr/>
          <p:nvPr/>
        </p:nvSpPr>
        <p:spPr>
          <a:xfrm>
            <a:off x="7269730" y="4950774"/>
            <a:ext cx="1370910" cy="2918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7CCCC72-5000-45E1-8C5B-4EFCF7DC27BD}"/>
              </a:ext>
            </a:extLst>
          </p:cNvPr>
          <p:cNvCxnSpPr>
            <a:stCxn id="18" idx="0"/>
            <a:endCxn id="5" idx="2"/>
          </p:cNvCxnSpPr>
          <p:nvPr/>
        </p:nvCxnSpPr>
        <p:spPr>
          <a:xfrm flipH="1" flipV="1">
            <a:off x="7560275" y="2704289"/>
            <a:ext cx="1" cy="1158198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4304650F-6D42-4327-B9F6-685F41BBE38F}"/>
              </a:ext>
            </a:extLst>
          </p:cNvPr>
          <p:cNvSpPr txBox="1"/>
          <p:nvPr/>
        </p:nvSpPr>
        <p:spPr>
          <a:xfrm>
            <a:off x="7560275" y="3128969"/>
            <a:ext cx="1725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ub-model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8DC276D-300A-4C21-AEA4-334CD7ACD472}"/>
              </a:ext>
            </a:extLst>
          </p:cNvPr>
          <p:cNvSpPr txBox="1"/>
          <p:nvPr/>
        </p:nvSpPr>
        <p:spPr>
          <a:xfrm>
            <a:off x="299348" y="1231966"/>
            <a:ext cx="49464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rent-child = independent, but “owned by”</a:t>
            </a:r>
          </a:p>
          <a:p>
            <a:r>
              <a:rPr lang="en-US" dirty="0"/>
              <a:t>sub-model = a finer-grained model of</a:t>
            </a:r>
          </a:p>
          <a:p>
            <a:r>
              <a:rPr lang="en-US" dirty="0"/>
              <a:t>portion-of = A portion of element,</a:t>
            </a:r>
          </a:p>
          <a:p>
            <a:r>
              <a:rPr lang="en-US" dirty="0"/>
              <a:t>	    explicitly  modeled in a sub-model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8169373-E7B9-4945-9995-922D4866664D}"/>
              </a:ext>
            </a:extLst>
          </p:cNvPr>
          <p:cNvCxnSpPr>
            <a:cxnSpLocks/>
            <a:stCxn id="6" idx="0"/>
          </p:cNvCxnSpPr>
          <p:nvPr/>
        </p:nvCxnSpPr>
        <p:spPr>
          <a:xfrm flipV="1">
            <a:off x="6370086" y="2662854"/>
            <a:ext cx="479939" cy="1434903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9FD5679D-FC09-4705-BB4C-5FF2B39B9F15}"/>
              </a:ext>
            </a:extLst>
          </p:cNvPr>
          <p:cNvSpPr txBox="1"/>
          <p:nvPr/>
        </p:nvSpPr>
        <p:spPr>
          <a:xfrm>
            <a:off x="5448321" y="3126396"/>
            <a:ext cx="11795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rtion-of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793BE4-17C4-497C-AC6D-CDA04353A4E0}"/>
              </a:ext>
            </a:extLst>
          </p:cNvPr>
          <p:cNvSpPr/>
          <p:nvPr/>
        </p:nvSpPr>
        <p:spPr>
          <a:xfrm>
            <a:off x="9739527" y="1195535"/>
            <a:ext cx="719033" cy="1653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09FA1CA-F53B-467A-8E1B-E9BB7A7ADEDA}"/>
              </a:ext>
            </a:extLst>
          </p:cNvPr>
          <p:cNvSpPr/>
          <p:nvPr/>
        </p:nvSpPr>
        <p:spPr>
          <a:xfrm>
            <a:off x="9644034" y="1804829"/>
            <a:ext cx="411480" cy="1653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09E7E18-4BE1-4851-AF0C-F50260E7C525}"/>
              </a:ext>
            </a:extLst>
          </p:cNvPr>
          <p:cNvSpPr/>
          <p:nvPr/>
        </p:nvSpPr>
        <p:spPr>
          <a:xfrm>
            <a:off x="9972762" y="2086342"/>
            <a:ext cx="411480" cy="1653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93DDDF4-A685-455F-923F-929A08F7FA7B}"/>
              </a:ext>
            </a:extLst>
          </p:cNvPr>
          <p:cNvCxnSpPr>
            <a:cxnSpLocks/>
            <a:stCxn id="30" idx="0"/>
            <a:endCxn id="29" idx="2"/>
          </p:cNvCxnSpPr>
          <p:nvPr/>
        </p:nvCxnSpPr>
        <p:spPr>
          <a:xfrm flipV="1">
            <a:off x="9849774" y="1360883"/>
            <a:ext cx="249270" cy="443946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70B67FA5-C9F7-4D17-9825-44C88BFBBAD0}"/>
              </a:ext>
            </a:extLst>
          </p:cNvPr>
          <p:cNvCxnSpPr>
            <a:cxnSpLocks/>
            <a:stCxn id="31" idx="0"/>
            <a:endCxn id="29" idx="2"/>
          </p:cNvCxnSpPr>
          <p:nvPr/>
        </p:nvCxnSpPr>
        <p:spPr>
          <a:xfrm flipH="1" flipV="1">
            <a:off x="10099044" y="1360883"/>
            <a:ext cx="79458" cy="725459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001DFEED-7A44-476E-B493-C4BFFD4372BC}"/>
              </a:ext>
            </a:extLst>
          </p:cNvPr>
          <p:cNvSpPr txBox="1"/>
          <p:nvPr/>
        </p:nvSpPr>
        <p:spPr>
          <a:xfrm>
            <a:off x="10078901" y="1467378"/>
            <a:ext cx="1597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rent-child</a:t>
            </a:r>
          </a:p>
        </p:txBody>
      </p:sp>
    </p:spTree>
    <p:extLst>
      <p:ext uri="{BB962C8B-B14F-4D97-AF65-F5344CB8AC3E}">
        <p14:creationId xmlns:p14="http://schemas.microsoft.com/office/powerpoint/2010/main" val="919205582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Rectangle: Rounded Corners 189">
            <a:extLst>
              <a:ext uri="{FF2B5EF4-FFF2-40B4-BE49-F238E27FC236}">
                <a16:creationId xmlns:a16="http://schemas.microsoft.com/office/drawing/2014/main" id="{04E9AA04-4120-4495-9313-3DB5B1BB6506}"/>
              </a:ext>
            </a:extLst>
          </p:cNvPr>
          <p:cNvSpPr/>
          <p:nvPr/>
        </p:nvSpPr>
        <p:spPr>
          <a:xfrm>
            <a:off x="4721820" y="1379356"/>
            <a:ext cx="2235270" cy="3733865"/>
          </a:xfrm>
          <a:prstGeom prst="roundRect">
            <a:avLst>
              <a:gd name="adj" fmla="val 12417"/>
            </a:avLst>
          </a:pr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Spatial/Physical Hierarchy: BIS Current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EC8B4BB4-4741-4411-8F84-2A016DE864DA}"/>
              </a:ext>
            </a:extLst>
          </p:cNvPr>
          <p:cNvSpPr/>
          <p:nvPr/>
        </p:nvSpPr>
        <p:spPr>
          <a:xfrm>
            <a:off x="4883516" y="3011701"/>
            <a:ext cx="1934702" cy="2021959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B8EDC8B-1552-42A2-A823-F3B85407C792}"/>
              </a:ext>
            </a:extLst>
          </p:cNvPr>
          <p:cNvSpPr txBox="1"/>
          <p:nvPr/>
        </p:nvSpPr>
        <p:spPr>
          <a:xfrm>
            <a:off x="5693454" y="1599099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65BF5C0C-67E3-4232-AFF6-6C04FC45275A}"/>
              </a:ext>
            </a:extLst>
          </p:cNvPr>
          <p:cNvGrpSpPr/>
          <p:nvPr/>
        </p:nvGrpSpPr>
        <p:grpSpPr>
          <a:xfrm>
            <a:off x="5418597" y="2768266"/>
            <a:ext cx="867032" cy="501921"/>
            <a:chOff x="2632334" y="2018331"/>
            <a:chExt cx="867032" cy="501921"/>
          </a:xfrm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EA6E20E4-B100-444B-96DC-5592F846C89F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87AF597D-A5FE-4A8E-9D03-5B6C81845366}"/>
                </a:ext>
              </a:extLst>
            </p:cNvPr>
            <p:cNvSpPr txBox="1"/>
            <p:nvPr/>
          </p:nvSpPr>
          <p:spPr>
            <a:xfrm>
              <a:off x="2701809" y="2130301"/>
              <a:ext cx="7280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Building</a:t>
              </a:r>
            </a:p>
          </p:txBody>
        </p:sp>
      </p:grp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A3C6E97B-A6A5-47A5-BB7E-7626DFB9C77C}"/>
              </a:ext>
            </a:extLst>
          </p:cNvPr>
          <p:cNvSpPr/>
          <p:nvPr/>
        </p:nvSpPr>
        <p:spPr>
          <a:xfrm>
            <a:off x="5003592" y="3756455"/>
            <a:ext cx="1661856" cy="1151645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BF15EF83-9044-4620-9A66-A8E977A04FC6}"/>
              </a:ext>
            </a:extLst>
          </p:cNvPr>
          <p:cNvGrpSpPr/>
          <p:nvPr/>
        </p:nvGrpSpPr>
        <p:grpSpPr>
          <a:xfrm>
            <a:off x="5418597" y="3518389"/>
            <a:ext cx="867032" cy="501921"/>
            <a:chOff x="2632334" y="2018331"/>
            <a:chExt cx="867032" cy="501921"/>
          </a:xfrm>
        </p:grpSpPr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BC2D8026-C31B-4508-95F2-2B21645DE6EB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C069188F-6398-4CAE-A7D8-E6497DA26D89}"/>
                </a:ext>
              </a:extLst>
            </p:cNvPr>
            <p:cNvSpPr txBox="1"/>
            <p:nvPr/>
          </p:nvSpPr>
          <p:spPr>
            <a:xfrm>
              <a:off x="2793981" y="2139728"/>
              <a:ext cx="5437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tory</a:t>
              </a: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C2530312-EE3C-406F-ABA0-2716E4DF9852}"/>
              </a:ext>
            </a:extLst>
          </p:cNvPr>
          <p:cNvGrpSpPr/>
          <p:nvPr/>
        </p:nvGrpSpPr>
        <p:grpSpPr>
          <a:xfrm>
            <a:off x="5418595" y="4223043"/>
            <a:ext cx="867032" cy="501921"/>
            <a:chOff x="2632334" y="2018331"/>
            <a:chExt cx="867032" cy="501921"/>
          </a:xfrm>
        </p:grpSpPr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7BFF8635-579D-4159-B454-B87D8A824AD9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32AA25BC-054B-4879-874B-16420C296CA6}"/>
                </a:ext>
              </a:extLst>
            </p:cNvPr>
            <p:cNvSpPr txBox="1"/>
            <p:nvPr/>
          </p:nvSpPr>
          <p:spPr>
            <a:xfrm>
              <a:off x="2756311" y="2130301"/>
              <a:ext cx="6190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pace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70C089F6-E737-4CDC-9883-18F8760F95A8}"/>
              </a:ext>
            </a:extLst>
          </p:cNvPr>
          <p:cNvGrpSpPr/>
          <p:nvPr/>
        </p:nvGrpSpPr>
        <p:grpSpPr>
          <a:xfrm>
            <a:off x="5418595" y="1139284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219E17A7-ACF4-42FD-A493-9D8D4A9A4D61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1FA2CB8A-A0B6-4498-9826-B032B054AE1B}"/>
                </a:ext>
              </a:extLst>
            </p:cNvPr>
            <p:cNvSpPr txBox="1"/>
            <p:nvPr/>
          </p:nvSpPr>
          <p:spPr>
            <a:xfrm>
              <a:off x="3012089" y="1373641"/>
              <a:ext cx="6960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ubject</a:t>
              </a: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74E00DBA-8418-4032-BA6C-23E719F94182}"/>
              </a:ext>
            </a:extLst>
          </p:cNvPr>
          <p:cNvGrpSpPr/>
          <p:nvPr/>
        </p:nvGrpSpPr>
        <p:grpSpPr>
          <a:xfrm>
            <a:off x="8103958" y="5456517"/>
            <a:ext cx="1049665" cy="607647"/>
            <a:chOff x="2410853" y="3441340"/>
            <a:chExt cx="953829" cy="552168"/>
          </a:xfrm>
        </p:grpSpPr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00857AF0-19AE-410F-AE9F-6F369F32181F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4BDD1E60-DD14-4B9F-BCA6-DC8197E17DAC}"/>
                </a:ext>
              </a:extLst>
            </p:cNvPr>
            <p:cNvSpPr txBox="1"/>
            <p:nvPr/>
          </p:nvSpPr>
          <p:spPr>
            <a:xfrm>
              <a:off x="2544583" y="3524565"/>
              <a:ext cx="686372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hysic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Element</a:t>
              </a: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A52C2488-C8EE-4CA0-B598-240EAE9FF8D3}"/>
              </a:ext>
            </a:extLst>
          </p:cNvPr>
          <p:cNvGrpSpPr/>
          <p:nvPr/>
        </p:nvGrpSpPr>
        <p:grpSpPr>
          <a:xfrm>
            <a:off x="5068509" y="5329302"/>
            <a:ext cx="1569243" cy="862077"/>
            <a:chOff x="2300259" y="1850812"/>
            <a:chExt cx="1569243" cy="862077"/>
          </a:xfrm>
        </p:grpSpPr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9E29B607-D4A6-47E6-B08B-E91775B7D796}"/>
                </a:ext>
              </a:extLst>
            </p:cNvPr>
            <p:cNvSpPr/>
            <p:nvPr/>
          </p:nvSpPr>
          <p:spPr>
            <a:xfrm rot="12600000" flipV="1">
              <a:off x="2328426" y="1850812"/>
              <a:ext cx="1541076" cy="862077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A6DD9A7-0BD0-4ACD-8D18-E69C51908F7A}"/>
                </a:ext>
              </a:extLst>
            </p:cNvPr>
            <p:cNvSpPr txBox="1"/>
            <p:nvPr/>
          </p:nvSpPr>
          <p:spPr>
            <a:xfrm>
              <a:off x="2300259" y="2130301"/>
              <a:ext cx="153118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 err="1">
                  <a:solidFill>
                    <a:schemeClr val="bg1"/>
                  </a:solidFill>
                </a:rPr>
                <a:t>CompositeElemen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53" name="TextBox 152">
            <a:extLst>
              <a:ext uri="{FF2B5EF4-FFF2-40B4-BE49-F238E27FC236}">
                <a16:creationId xmlns:a16="http://schemas.microsoft.com/office/drawing/2014/main" id="{B24A0A11-6948-4BCD-A8EB-722CB4D61B88}"/>
              </a:ext>
            </a:extLst>
          </p:cNvPr>
          <p:cNvSpPr txBox="1"/>
          <p:nvPr/>
        </p:nvSpPr>
        <p:spPr>
          <a:xfrm>
            <a:off x="6657724" y="5498965"/>
            <a:ext cx="137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overlaps </a:t>
            </a:r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5DD763CD-EA1E-47D0-AED7-371CF3DFD81F}"/>
              </a:ext>
            </a:extLst>
          </p:cNvPr>
          <p:cNvCxnSpPr>
            <a:cxnSpLocks/>
            <a:stCxn id="151" idx="6"/>
            <a:endCxn id="132" idx="0"/>
          </p:cNvCxnSpPr>
          <p:nvPr/>
        </p:nvCxnSpPr>
        <p:spPr>
          <a:xfrm flipV="1">
            <a:off x="6750039" y="5759639"/>
            <a:ext cx="1273132" cy="12680"/>
          </a:xfrm>
          <a:prstGeom prst="straightConnector1">
            <a:avLst/>
          </a:prstGeom>
          <a:ln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:a16="http://schemas.microsoft.com/office/drawing/2014/main" id="{0590F153-3779-47DD-9948-905169FCD79E}"/>
              </a:ext>
            </a:extLst>
          </p:cNvPr>
          <p:cNvSpPr txBox="1"/>
          <p:nvPr/>
        </p:nvSpPr>
        <p:spPr>
          <a:xfrm>
            <a:off x="9149375" y="5595290"/>
            <a:ext cx="7738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can be 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47802FDD-1085-4B3C-9A6A-A7A438CCE67E}"/>
              </a:ext>
            </a:extLst>
          </p:cNvPr>
          <p:cNvSpPr txBox="1"/>
          <p:nvPr/>
        </p:nvSpPr>
        <p:spPr>
          <a:xfrm>
            <a:off x="4397090" y="671312"/>
            <a:ext cx="28740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Spatial Structure Hierarchy</a:t>
            </a:r>
          </a:p>
        </p:txBody>
      </p:sp>
      <p:sp>
        <p:nvSpPr>
          <p:cNvPr id="157" name="Rectangle: Rounded Corners 156">
            <a:extLst>
              <a:ext uri="{FF2B5EF4-FFF2-40B4-BE49-F238E27FC236}">
                <a16:creationId xmlns:a16="http://schemas.microsoft.com/office/drawing/2014/main" id="{75177FEE-8B23-4945-83C8-3B8A11B62E7D}"/>
              </a:ext>
            </a:extLst>
          </p:cNvPr>
          <p:cNvSpPr/>
          <p:nvPr/>
        </p:nvSpPr>
        <p:spPr>
          <a:xfrm>
            <a:off x="335713" y="2028901"/>
            <a:ext cx="3599974" cy="3586086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2E8115C4-4665-4580-AF99-DCDC72EFF981}"/>
              </a:ext>
            </a:extLst>
          </p:cNvPr>
          <p:cNvSpPr/>
          <p:nvPr/>
        </p:nvSpPr>
        <p:spPr>
          <a:xfrm>
            <a:off x="457351" y="3005526"/>
            <a:ext cx="3303442" cy="248087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6DB32D40-5ABB-40C2-86F8-8E71898B712E}"/>
              </a:ext>
            </a:extLst>
          </p:cNvPr>
          <p:cNvSpPr/>
          <p:nvPr/>
        </p:nvSpPr>
        <p:spPr>
          <a:xfrm>
            <a:off x="566869" y="3745296"/>
            <a:ext cx="2644018" cy="162391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60" name="Rectangle: Rounded Corners 159">
            <a:extLst>
              <a:ext uri="{FF2B5EF4-FFF2-40B4-BE49-F238E27FC236}">
                <a16:creationId xmlns:a16="http://schemas.microsoft.com/office/drawing/2014/main" id="{CD766438-3850-4B69-B35E-BDFBD45A358D}"/>
              </a:ext>
            </a:extLst>
          </p:cNvPr>
          <p:cNvSpPr/>
          <p:nvPr/>
        </p:nvSpPr>
        <p:spPr>
          <a:xfrm>
            <a:off x="1040633" y="1794883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lex</a:t>
            </a: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D57FB4FC-6AF1-48EC-8988-99CB443A911F}"/>
              </a:ext>
            </a:extLst>
          </p:cNvPr>
          <p:cNvSpPr/>
          <p:nvPr/>
        </p:nvSpPr>
        <p:spPr>
          <a:xfrm>
            <a:off x="1040633" y="2811309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ntity</a:t>
            </a:r>
          </a:p>
        </p:txBody>
      </p:sp>
      <p:sp>
        <p:nvSpPr>
          <p:cNvPr id="162" name="Rectangle: Rounded Corners 161">
            <a:extLst>
              <a:ext uri="{FF2B5EF4-FFF2-40B4-BE49-F238E27FC236}">
                <a16:creationId xmlns:a16="http://schemas.microsoft.com/office/drawing/2014/main" id="{3911B10D-4BAF-4EA5-8339-A30B3FA4510D}"/>
              </a:ext>
            </a:extLst>
          </p:cNvPr>
          <p:cNvSpPr/>
          <p:nvPr/>
        </p:nvSpPr>
        <p:spPr>
          <a:xfrm>
            <a:off x="1040633" y="3516410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163" name="Rectangle: Rounded Corners 162">
            <a:extLst>
              <a:ext uri="{FF2B5EF4-FFF2-40B4-BE49-F238E27FC236}">
                <a16:creationId xmlns:a16="http://schemas.microsoft.com/office/drawing/2014/main" id="{B963FA65-ECEF-462F-A658-C53CF5BEF88A}"/>
              </a:ext>
            </a:extLst>
          </p:cNvPr>
          <p:cNvSpPr/>
          <p:nvPr/>
        </p:nvSpPr>
        <p:spPr>
          <a:xfrm>
            <a:off x="2494594" y="3172938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326A7D25-784D-4896-A0A7-FF172FB9949E}"/>
              </a:ext>
            </a:extLst>
          </p:cNvPr>
          <p:cNvSpPr/>
          <p:nvPr/>
        </p:nvSpPr>
        <p:spPr>
          <a:xfrm>
            <a:off x="729180" y="4306208"/>
            <a:ext cx="2308535" cy="90306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B39BBBC8-BC06-48CC-85C3-399A25463864}"/>
              </a:ext>
            </a:extLst>
          </p:cNvPr>
          <p:cNvSpPr/>
          <p:nvPr/>
        </p:nvSpPr>
        <p:spPr>
          <a:xfrm>
            <a:off x="1040633" y="4086751"/>
            <a:ext cx="1060020" cy="438915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  <p:sp>
        <p:nvSpPr>
          <p:cNvPr id="166" name="Rectangle: Rounded Corners 165">
            <a:extLst>
              <a:ext uri="{FF2B5EF4-FFF2-40B4-BE49-F238E27FC236}">
                <a16:creationId xmlns:a16="http://schemas.microsoft.com/office/drawing/2014/main" id="{8C0208CA-CA3C-4AF0-B2BE-D902D7163B61}"/>
              </a:ext>
            </a:extLst>
          </p:cNvPr>
          <p:cNvSpPr/>
          <p:nvPr/>
        </p:nvSpPr>
        <p:spPr>
          <a:xfrm>
            <a:off x="1040633" y="4674306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9480DD29-8289-485A-9CC9-2FA3CBA049C1}"/>
              </a:ext>
            </a:extLst>
          </p:cNvPr>
          <p:cNvSpPr txBox="1"/>
          <p:nvPr/>
        </p:nvSpPr>
        <p:spPr>
          <a:xfrm>
            <a:off x="832873" y="1265674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UNICLASS</a:t>
            </a:r>
          </a:p>
        </p:txBody>
      </p: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15BEE63B-0D22-43B3-BE23-462E89A45D61}"/>
              </a:ext>
            </a:extLst>
          </p:cNvPr>
          <p:cNvGrpSpPr/>
          <p:nvPr/>
        </p:nvGrpSpPr>
        <p:grpSpPr>
          <a:xfrm>
            <a:off x="8175376" y="3211104"/>
            <a:ext cx="867032" cy="507646"/>
            <a:chOff x="2632334" y="2018331"/>
            <a:chExt cx="867032" cy="507646"/>
          </a:xfrm>
        </p:grpSpPr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CEE47F13-3C51-4F43-B88F-C57EB0859A11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74DB8233-4C0D-491E-B45A-84EF7BB06ACE}"/>
                </a:ext>
              </a:extLst>
            </p:cNvPr>
            <p:cNvSpPr txBox="1"/>
            <p:nvPr/>
          </p:nvSpPr>
          <p:spPr>
            <a:xfrm>
              <a:off x="2705817" y="2064312"/>
              <a:ext cx="72006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Regular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tory</a:t>
              </a: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9281F490-FC6A-4A7A-B39D-778A7305BFEB}"/>
              </a:ext>
            </a:extLst>
          </p:cNvPr>
          <p:cNvGrpSpPr/>
          <p:nvPr/>
        </p:nvGrpSpPr>
        <p:grpSpPr>
          <a:xfrm>
            <a:off x="8175376" y="3821006"/>
            <a:ext cx="867032" cy="507646"/>
            <a:chOff x="2632334" y="2018331"/>
            <a:chExt cx="867032" cy="507646"/>
          </a:xfrm>
        </p:grpSpPr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9B21833B-6D9A-4E3C-9FB4-5A19DEC381BF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E4465E21-30E4-4AD2-BCD3-5725E15A959F}"/>
                </a:ext>
              </a:extLst>
            </p:cNvPr>
            <p:cNvSpPr txBox="1"/>
            <p:nvPr/>
          </p:nvSpPr>
          <p:spPr>
            <a:xfrm>
              <a:off x="2658530" y="2064312"/>
              <a:ext cx="81464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Elevation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tory</a:t>
              </a:r>
            </a:p>
          </p:txBody>
        </p:sp>
      </p:grpSp>
      <p:sp>
        <p:nvSpPr>
          <p:cNvPr id="186" name="TextBox 185">
            <a:extLst>
              <a:ext uri="{FF2B5EF4-FFF2-40B4-BE49-F238E27FC236}">
                <a16:creationId xmlns:a16="http://schemas.microsoft.com/office/drawing/2014/main" id="{0D01F048-46A8-4B17-9C16-5C5EED590C16}"/>
              </a:ext>
            </a:extLst>
          </p:cNvPr>
          <p:cNvSpPr txBox="1"/>
          <p:nvPr/>
        </p:nvSpPr>
        <p:spPr>
          <a:xfrm>
            <a:off x="6847583" y="3615357"/>
            <a:ext cx="16580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has subclasses </a:t>
            </a:r>
          </a:p>
        </p:txBody>
      </p: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BC838876-EC67-4572-91DF-462F46C96BA6}"/>
              </a:ext>
            </a:extLst>
          </p:cNvPr>
          <p:cNvGrpSpPr/>
          <p:nvPr/>
        </p:nvGrpSpPr>
        <p:grpSpPr>
          <a:xfrm>
            <a:off x="9695418" y="5215951"/>
            <a:ext cx="867032" cy="501921"/>
            <a:chOff x="8144873" y="2723071"/>
            <a:chExt cx="867032" cy="501921"/>
          </a:xfrm>
        </p:grpSpPr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A63E209F-68A8-475C-AF2D-F6AE28A5F22A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00B0FEB1-5E5E-4C67-B2D2-4F7A7F029917}"/>
                </a:ext>
              </a:extLst>
            </p:cNvPr>
            <p:cNvSpPr txBox="1"/>
            <p:nvPr/>
          </p:nvSpPr>
          <p:spPr>
            <a:xfrm>
              <a:off x="8155893" y="2831501"/>
              <a:ext cx="8499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Assembly</a:t>
              </a: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AF3BCC0E-54A9-4D03-99CA-2CFC656D9C1D}"/>
              </a:ext>
            </a:extLst>
          </p:cNvPr>
          <p:cNvGrpSpPr/>
          <p:nvPr/>
        </p:nvGrpSpPr>
        <p:grpSpPr>
          <a:xfrm>
            <a:off x="9706438" y="5799215"/>
            <a:ext cx="867032" cy="501921"/>
            <a:chOff x="8144873" y="2723071"/>
            <a:chExt cx="867032" cy="501921"/>
          </a:xfrm>
        </p:grpSpPr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EC42834D-7D06-43DC-8677-AD5C418FE355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D0717363-B76E-4AC3-909F-3D74C392FB07}"/>
                </a:ext>
              </a:extLst>
            </p:cNvPr>
            <p:cNvSpPr txBox="1"/>
            <p:nvPr/>
          </p:nvSpPr>
          <p:spPr>
            <a:xfrm>
              <a:off x="8224021" y="2831501"/>
              <a:ext cx="71365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rodu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47952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s many Entities as you need…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3866F16-D046-4333-80C5-5A6A8A0B3ED8}"/>
              </a:ext>
            </a:extLst>
          </p:cNvPr>
          <p:cNvGrpSpPr/>
          <p:nvPr/>
        </p:nvGrpSpPr>
        <p:grpSpPr>
          <a:xfrm>
            <a:off x="5544343" y="4473357"/>
            <a:ext cx="2014030" cy="1165911"/>
            <a:chOff x="9034416" y="4441558"/>
            <a:chExt cx="2014030" cy="1165911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3115D1E-D006-4B9F-BA2B-F2165B467BD7}"/>
                </a:ext>
              </a:extLst>
            </p:cNvPr>
            <p:cNvSpPr/>
            <p:nvPr/>
          </p:nvSpPr>
          <p:spPr>
            <a:xfrm rot="19800000" flipV="1">
              <a:off x="9034416" y="4441558"/>
              <a:ext cx="2014030" cy="116591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5E5DB18-FB2F-43F4-9A24-AB9D40676182}"/>
                </a:ext>
              </a:extLst>
            </p:cNvPr>
            <p:cNvSpPr/>
            <p:nvPr/>
          </p:nvSpPr>
          <p:spPr>
            <a:xfrm rot="19800000">
              <a:off x="9455373" y="4701348"/>
              <a:ext cx="1172117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Analytical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Entity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D7F98AC-153B-4433-928A-F46BC5FDD55E}"/>
              </a:ext>
            </a:extLst>
          </p:cNvPr>
          <p:cNvGrpSpPr/>
          <p:nvPr/>
        </p:nvGrpSpPr>
        <p:grpSpPr>
          <a:xfrm>
            <a:off x="4814634" y="4041549"/>
            <a:ext cx="1165911" cy="2014030"/>
            <a:chOff x="4814634" y="4041549"/>
            <a:chExt cx="1165911" cy="2014030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6447BC9-54CA-4453-8CE5-8EA291628CF6}"/>
                </a:ext>
              </a:extLst>
            </p:cNvPr>
            <p:cNvSpPr/>
            <p:nvPr/>
          </p:nvSpPr>
          <p:spPr>
            <a:xfrm rot="16200000" flipV="1">
              <a:off x="4390575" y="4465608"/>
              <a:ext cx="2014030" cy="116591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D3368FB-6E92-4547-B670-BE7B24AA9FC3}"/>
                </a:ext>
              </a:extLst>
            </p:cNvPr>
            <p:cNvSpPr/>
            <p:nvPr/>
          </p:nvSpPr>
          <p:spPr>
            <a:xfrm rot="1800000">
              <a:off x="4978244" y="4725398"/>
              <a:ext cx="838691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Safety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Entity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8708ED6-76FF-41BC-8CD2-195C4DABDE4E}"/>
              </a:ext>
            </a:extLst>
          </p:cNvPr>
          <p:cNvGrpSpPr/>
          <p:nvPr/>
        </p:nvGrpSpPr>
        <p:grpSpPr>
          <a:xfrm>
            <a:off x="4772484" y="2134115"/>
            <a:ext cx="2785890" cy="2589769"/>
            <a:chOff x="3053247" y="4030487"/>
            <a:chExt cx="2785890" cy="258976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BAD5450-D18E-46E0-BD3D-5D60BE6159FC}"/>
                </a:ext>
              </a:extLst>
            </p:cNvPr>
            <p:cNvGrpSpPr/>
            <p:nvPr/>
          </p:nvGrpSpPr>
          <p:grpSpPr>
            <a:xfrm>
              <a:off x="3053247" y="4606226"/>
              <a:ext cx="1249060" cy="2014030"/>
              <a:chOff x="8253320" y="4014450"/>
              <a:chExt cx="1249060" cy="2014030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D499554-AC6F-4898-9DB9-52D26880E7F9}"/>
                  </a:ext>
                </a:extLst>
              </p:cNvPr>
              <p:cNvSpPr/>
              <p:nvPr/>
            </p:nvSpPr>
            <p:spPr>
              <a:xfrm rot="16200000" flipV="1">
                <a:off x="7870835" y="4438509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A4D75EBC-8E8F-4111-93E3-659BBB97471D}"/>
                  </a:ext>
                </a:extLst>
              </p:cNvPr>
              <p:cNvSpPr/>
              <p:nvPr/>
            </p:nvSpPr>
            <p:spPr>
              <a:xfrm rot="1800000">
                <a:off x="8253320" y="4698299"/>
                <a:ext cx="1249060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Function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4376BD95-E9D2-44CA-8FE4-275F56679A0C}"/>
                </a:ext>
              </a:extLst>
            </p:cNvPr>
            <p:cNvGrpSpPr/>
            <p:nvPr/>
          </p:nvGrpSpPr>
          <p:grpSpPr>
            <a:xfrm>
              <a:off x="3249913" y="4030487"/>
              <a:ext cx="2014030" cy="1165911"/>
              <a:chOff x="8449986" y="3438711"/>
              <a:chExt cx="2014030" cy="1165911"/>
            </a:xfrm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EF4A1A7B-FA40-4598-84E9-4C73E8632A2A}"/>
                  </a:ext>
                </a:extLst>
              </p:cNvPr>
              <p:cNvSpPr/>
              <p:nvPr/>
            </p:nvSpPr>
            <p:spPr>
              <a:xfrm rot="12600000" flipV="1">
                <a:off x="8449986" y="3438711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647FB962-E047-498B-90AD-7A97F51BF222}"/>
                  </a:ext>
                </a:extLst>
              </p:cNvPr>
              <p:cNvSpPr/>
              <p:nvPr/>
            </p:nvSpPr>
            <p:spPr>
              <a:xfrm>
                <a:off x="8935063" y="3682020"/>
                <a:ext cx="1043876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Physic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7EC4F7B7-FAEB-4A69-8F41-DD35403E3F5A}"/>
                </a:ext>
              </a:extLst>
            </p:cNvPr>
            <p:cNvGrpSpPr/>
            <p:nvPr/>
          </p:nvGrpSpPr>
          <p:grpSpPr>
            <a:xfrm>
              <a:off x="3825107" y="5033334"/>
              <a:ext cx="2014030" cy="1165911"/>
              <a:chOff x="9034416" y="4441558"/>
              <a:chExt cx="2014030" cy="1165911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48C55AC-6D91-4AA1-8614-A72DE38F9F60}"/>
                  </a:ext>
                </a:extLst>
              </p:cNvPr>
              <p:cNvSpPr/>
              <p:nvPr/>
            </p:nvSpPr>
            <p:spPr>
              <a:xfrm rot="19800000" flipV="1">
                <a:off x="9034416" y="4441558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13A8C1F9-E636-487D-84C6-CC31C3C25512}"/>
                  </a:ext>
                </a:extLst>
              </p:cNvPr>
              <p:cNvSpPr/>
              <p:nvPr/>
            </p:nvSpPr>
            <p:spPr>
              <a:xfrm rot="19800000">
                <a:off x="9660557" y="4701348"/>
                <a:ext cx="761747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Other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</p:grpSp>
      <p:sp>
        <p:nvSpPr>
          <p:cNvPr id="21" name="Hexagon 1">
            <a:extLst>
              <a:ext uri="{FF2B5EF4-FFF2-40B4-BE49-F238E27FC236}">
                <a16:creationId xmlns:a16="http://schemas.microsoft.com/office/drawing/2014/main" id="{2CD45361-FA24-46D7-A325-65C150A71A00}"/>
              </a:ext>
            </a:extLst>
          </p:cNvPr>
          <p:cNvSpPr/>
          <p:nvPr/>
        </p:nvSpPr>
        <p:spPr>
          <a:xfrm rot="1800000">
            <a:off x="4283254" y="2279404"/>
            <a:ext cx="3374535" cy="3496916"/>
          </a:xfrm>
          <a:custGeom>
            <a:avLst/>
            <a:gdLst>
              <a:gd name="connsiteX0" fmla="*/ 0 w 2628787"/>
              <a:gd name="connsiteY0" fmla="*/ 1133098 h 2266196"/>
              <a:gd name="connsiteX1" fmla="*/ 566549 w 2628787"/>
              <a:gd name="connsiteY1" fmla="*/ 1 h 2266196"/>
              <a:gd name="connsiteX2" fmla="*/ 2062238 w 2628787"/>
              <a:gd name="connsiteY2" fmla="*/ 1 h 2266196"/>
              <a:gd name="connsiteX3" fmla="*/ 2628787 w 2628787"/>
              <a:gd name="connsiteY3" fmla="*/ 1133098 h 2266196"/>
              <a:gd name="connsiteX4" fmla="*/ 2062238 w 2628787"/>
              <a:gd name="connsiteY4" fmla="*/ 2266195 h 2266196"/>
              <a:gd name="connsiteX5" fmla="*/ 566549 w 2628787"/>
              <a:gd name="connsiteY5" fmla="*/ 2266195 h 2266196"/>
              <a:gd name="connsiteX6" fmla="*/ 0 w 2628787"/>
              <a:gd name="connsiteY6" fmla="*/ 1133098 h 2266196"/>
              <a:gd name="connsiteX0" fmla="*/ 0 w 2692686"/>
              <a:gd name="connsiteY0" fmla="*/ 1146173 h 2266194"/>
              <a:gd name="connsiteX1" fmla="*/ 630448 w 2692686"/>
              <a:gd name="connsiteY1" fmla="*/ 0 h 2266194"/>
              <a:gd name="connsiteX2" fmla="*/ 2126137 w 2692686"/>
              <a:gd name="connsiteY2" fmla="*/ 0 h 2266194"/>
              <a:gd name="connsiteX3" fmla="*/ 2692686 w 2692686"/>
              <a:gd name="connsiteY3" fmla="*/ 1133097 h 2266194"/>
              <a:gd name="connsiteX4" fmla="*/ 2126137 w 2692686"/>
              <a:gd name="connsiteY4" fmla="*/ 2266194 h 2266194"/>
              <a:gd name="connsiteX5" fmla="*/ 630448 w 2692686"/>
              <a:gd name="connsiteY5" fmla="*/ 2266194 h 2266194"/>
              <a:gd name="connsiteX6" fmla="*/ 0 w 2692686"/>
              <a:gd name="connsiteY6" fmla="*/ 1146173 h 2266194"/>
              <a:gd name="connsiteX0" fmla="*/ 0 w 2692686"/>
              <a:gd name="connsiteY0" fmla="*/ 1184824 h 2304845"/>
              <a:gd name="connsiteX1" fmla="*/ 692812 w 2692686"/>
              <a:gd name="connsiteY1" fmla="*/ 0 h 2304845"/>
              <a:gd name="connsiteX2" fmla="*/ 2126137 w 2692686"/>
              <a:gd name="connsiteY2" fmla="*/ 38651 h 2304845"/>
              <a:gd name="connsiteX3" fmla="*/ 2692686 w 2692686"/>
              <a:gd name="connsiteY3" fmla="*/ 1171748 h 2304845"/>
              <a:gd name="connsiteX4" fmla="*/ 2126137 w 2692686"/>
              <a:gd name="connsiteY4" fmla="*/ 2304845 h 2304845"/>
              <a:gd name="connsiteX5" fmla="*/ 630448 w 2692686"/>
              <a:gd name="connsiteY5" fmla="*/ 2304845 h 2304845"/>
              <a:gd name="connsiteX6" fmla="*/ 0 w 2692686"/>
              <a:gd name="connsiteY6" fmla="*/ 1184824 h 2304845"/>
              <a:gd name="connsiteX0" fmla="*/ 0 w 2692686"/>
              <a:gd name="connsiteY0" fmla="*/ 1184824 h 2304845"/>
              <a:gd name="connsiteX1" fmla="*/ 692812 w 2692686"/>
              <a:gd name="connsiteY1" fmla="*/ 0 h 2304845"/>
              <a:gd name="connsiteX2" fmla="*/ 2046726 w 2692686"/>
              <a:gd name="connsiteY2" fmla="*/ 15696 h 2304845"/>
              <a:gd name="connsiteX3" fmla="*/ 2692686 w 2692686"/>
              <a:gd name="connsiteY3" fmla="*/ 1171748 h 2304845"/>
              <a:gd name="connsiteX4" fmla="*/ 2126137 w 2692686"/>
              <a:gd name="connsiteY4" fmla="*/ 2304845 h 2304845"/>
              <a:gd name="connsiteX5" fmla="*/ 630448 w 2692686"/>
              <a:gd name="connsiteY5" fmla="*/ 2304845 h 2304845"/>
              <a:gd name="connsiteX6" fmla="*/ 0 w 2692686"/>
              <a:gd name="connsiteY6" fmla="*/ 1184824 h 2304845"/>
              <a:gd name="connsiteX0" fmla="*/ 0 w 2736822"/>
              <a:gd name="connsiteY0" fmla="*/ 1184824 h 2304845"/>
              <a:gd name="connsiteX1" fmla="*/ 692812 w 2736822"/>
              <a:gd name="connsiteY1" fmla="*/ 0 h 2304845"/>
              <a:gd name="connsiteX2" fmla="*/ 2046726 w 2736822"/>
              <a:gd name="connsiteY2" fmla="*/ 15696 h 2304845"/>
              <a:gd name="connsiteX3" fmla="*/ 2736822 w 2736822"/>
              <a:gd name="connsiteY3" fmla="*/ 1188607 h 2304845"/>
              <a:gd name="connsiteX4" fmla="*/ 2126137 w 2736822"/>
              <a:gd name="connsiteY4" fmla="*/ 2304845 h 2304845"/>
              <a:gd name="connsiteX5" fmla="*/ 630448 w 2736822"/>
              <a:gd name="connsiteY5" fmla="*/ 2304845 h 2304845"/>
              <a:gd name="connsiteX6" fmla="*/ 0 w 2736822"/>
              <a:gd name="connsiteY6" fmla="*/ 1184824 h 2304845"/>
              <a:gd name="connsiteX0" fmla="*/ 0 w 2736822"/>
              <a:gd name="connsiteY0" fmla="*/ 1184824 h 2385603"/>
              <a:gd name="connsiteX1" fmla="*/ 692812 w 2736822"/>
              <a:gd name="connsiteY1" fmla="*/ 0 h 2385603"/>
              <a:gd name="connsiteX2" fmla="*/ 2046726 w 2736822"/>
              <a:gd name="connsiteY2" fmla="*/ 15696 h 2385603"/>
              <a:gd name="connsiteX3" fmla="*/ 2736822 w 2736822"/>
              <a:gd name="connsiteY3" fmla="*/ 1188607 h 2385603"/>
              <a:gd name="connsiteX4" fmla="*/ 2126137 w 2736822"/>
              <a:gd name="connsiteY4" fmla="*/ 2304845 h 2385603"/>
              <a:gd name="connsiteX5" fmla="*/ 687659 w 2736822"/>
              <a:gd name="connsiteY5" fmla="*/ 2385603 h 2385603"/>
              <a:gd name="connsiteX6" fmla="*/ 0 w 2736822"/>
              <a:gd name="connsiteY6" fmla="*/ 1184824 h 2385603"/>
              <a:gd name="connsiteX0" fmla="*/ 0 w 2736822"/>
              <a:gd name="connsiteY0" fmla="*/ 1184824 h 2385603"/>
              <a:gd name="connsiteX1" fmla="*/ 692812 w 2736822"/>
              <a:gd name="connsiteY1" fmla="*/ 0 h 2385603"/>
              <a:gd name="connsiteX2" fmla="*/ 2046726 w 2736822"/>
              <a:gd name="connsiteY2" fmla="*/ 15696 h 2385603"/>
              <a:gd name="connsiteX3" fmla="*/ 2736822 w 2736822"/>
              <a:gd name="connsiteY3" fmla="*/ 1188607 h 2385603"/>
              <a:gd name="connsiteX4" fmla="*/ 2058207 w 2736822"/>
              <a:gd name="connsiteY4" fmla="*/ 2370526 h 2385603"/>
              <a:gd name="connsiteX5" fmla="*/ 687659 w 2736822"/>
              <a:gd name="connsiteY5" fmla="*/ 2385603 h 2385603"/>
              <a:gd name="connsiteX6" fmla="*/ 0 w 2736822"/>
              <a:gd name="connsiteY6" fmla="*/ 1184824 h 2385603"/>
              <a:gd name="connsiteX0" fmla="*/ 0 w 2733384"/>
              <a:gd name="connsiteY0" fmla="*/ 1190779 h 2385603"/>
              <a:gd name="connsiteX1" fmla="*/ 689374 w 2733384"/>
              <a:gd name="connsiteY1" fmla="*/ 0 h 2385603"/>
              <a:gd name="connsiteX2" fmla="*/ 2043288 w 2733384"/>
              <a:gd name="connsiteY2" fmla="*/ 15696 h 2385603"/>
              <a:gd name="connsiteX3" fmla="*/ 2733384 w 2733384"/>
              <a:gd name="connsiteY3" fmla="*/ 1188607 h 2385603"/>
              <a:gd name="connsiteX4" fmla="*/ 2054769 w 2733384"/>
              <a:gd name="connsiteY4" fmla="*/ 2370526 h 2385603"/>
              <a:gd name="connsiteX5" fmla="*/ 684221 w 2733384"/>
              <a:gd name="connsiteY5" fmla="*/ 2385603 h 2385603"/>
              <a:gd name="connsiteX6" fmla="*/ 0 w 2733384"/>
              <a:gd name="connsiteY6" fmla="*/ 1190779 h 2385603"/>
              <a:gd name="connsiteX0" fmla="*/ 0 w 2733384"/>
              <a:gd name="connsiteY0" fmla="*/ 1190779 h 2379650"/>
              <a:gd name="connsiteX1" fmla="*/ 689374 w 2733384"/>
              <a:gd name="connsiteY1" fmla="*/ 0 h 2379650"/>
              <a:gd name="connsiteX2" fmla="*/ 2043288 w 2733384"/>
              <a:gd name="connsiteY2" fmla="*/ 15696 h 2379650"/>
              <a:gd name="connsiteX3" fmla="*/ 2733384 w 2733384"/>
              <a:gd name="connsiteY3" fmla="*/ 1188607 h 2379650"/>
              <a:gd name="connsiteX4" fmla="*/ 2054769 w 2733384"/>
              <a:gd name="connsiteY4" fmla="*/ 2370526 h 2379650"/>
              <a:gd name="connsiteX5" fmla="*/ 680784 w 2733384"/>
              <a:gd name="connsiteY5" fmla="*/ 2379650 h 2379650"/>
              <a:gd name="connsiteX6" fmla="*/ 0 w 2733384"/>
              <a:gd name="connsiteY6" fmla="*/ 1190779 h 2379650"/>
              <a:gd name="connsiteX0" fmla="*/ 0 w 2733384"/>
              <a:gd name="connsiteY0" fmla="*/ 1190779 h 2381328"/>
              <a:gd name="connsiteX1" fmla="*/ 689374 w 2733384"/>
              <a:gd name="connsiteY1" fmla="*/ 0 h 2381328"/>
              <a:gd name="connsiteX2" fmla="*/ 2043288 w 2733384"/>
              <a:gd name="connsiteY2" fmla="*/ 15696 h 2381328"/>
              <a:gd name="connsiteX3" fmla="*/ 2733384 w 2733384"/>
              <a:gd name="connsiteY3" fmla="*/ 1188607 h 2381328"/>
              <a:gd name="connsiteX4" fmla="*/ 2054769 w 2733384"/>
              <a:gd name="connsiteY4" fmla="*/ 2370526 h 2381328"/>
              <a:gd name="connsiteX5" fmla="*/ 687045 w 2733384"/>
              <a:gd name="connsiteY5" fmla="*/ 2381328 h 2381328"/>
              <a:gd name="connsiteX6" fmla="*/ 0 w 2733384"/>
              <a:gd name="connsiteY6" fmla="*/ 1190779 h 2381328"/>
              <a:gd name="connsiteX0" fmla="*/ 0 w 2733384"/>
              <a:gd name="connsiteY0" fmla="*/ 1190779 h 2381328"/>
              <a:gd name="connsiteX1" fmla="*/ 689374 w 2733384"/>
              <a:gd name="connsiteY1" fmla="*/ 0 h 2381328"/>
              <a:gd name="connsiteX2" fmla="*/ 2043288 w 2733384"/>
              <a:gd name="connsiteY2" fmla="*/ 15696 h 2381328"/>
              <a:gd name="connsiteX3" fmla="*/ 2733384 w 2733384"/>
              <a:gd name="connsiteY3" fmla="*/ 1188607 h 2381328"/>
              <a:gd name="connsiteX4" fmla="*/ 2054769 w 2733384"/>
              <a:gd name="connsiteY4" fmla="*/ 2370526 h 2381328"/>
              <a:gd name="connsiteX5" fmla="*/ 687045 w 2733384"/>
              <a:gd name="connsiteY5" fmla="*/ 2381328 h 2381328"/>
              <a:gd name="connsiteX6" fmla="*/ 0 w 2733384"/>
              <a:gd name="connsiteY6" fmla="*/ 1190779 h 2381328"/>
              <a:gd name="connsiteX0" fmla="*/ 0 w 2733384"/>
              <a:gd name="connsiteY0" fmla="*/ 1190779 h 2390987"/>
              <a:gd name="connsiteX1" fmla="*/ 689374 w 2733384"/>
              <a:gd name="connsiteY1" fmla="*/ 0 h 2390987"/>
              <a:gd name="connsiteX2" fmla="*/ 2043288 w 2733384"/>
              <a:gd name="connsiteY2" fmla="*/ 15696 h 2390987"/>
              <a:gd name="connsiteX3" fmla="*/ 2733384 w 2733384"/>
              <a:gd name="connsiteY3" fmla="*/ 1188607 h 2390987"/>
              <a:gd name="connsiteX4" fmla="*/ 2055997 w 2733384"/>
              <a:gd name="connsiteY4" fmla="*/ 2390987 h 2390987"/>
              <a:gd name="connsiteX5" fmla="*/ 687045 w 2733384"/>
              <a:gd name="connsiteY5" fmla="*/ 2381328 h 2390987"/>
              <a:gd name="connsiteX6" fmla="*/ 0 w 2733384"/>
              <a:gd name="connsiteY6" fmla="*/ 1190779 h 2390987"/>
              <a:gd name="connsiteX0" fmla="*/ 0 w 2733384"/>
              <a:gd name="connsiteY0" fmla="*/ 1190779 h 2384725"/>
              <a:gd name="connsiteX1" fmla="*/ 689374 w 2733384"/>
              <a:gd name="connsiteY1" fmla="*/ 0 h 2384725"/>
              <a:gd name="connsiteX2" fmla="*/ 2043288 w 2733384"/>
              <a:gd name="connsiteY2" fmla="*/ 15696 h 2384725"/>
              <a:gd name="connsiteX3" fmla="*/ 2733384 w 2733384"/>
              <a:gd name="connsiteY3" fmla="*/ 1188607 h 2384725"/>
              <a:gd name="connsiteX4" fmla="*/ 2057675 w 2733384"/>
              <a:gd name="connsiteY4" fmla="*/ 2384725 h 2384725"/>
              <a:gd name="connsiteX5" fmla="*/ 687045 w 2733384"/>
              <a:gd name="connsiteY5" fmla="*/ 2381328 h 2384725"/>
              <a:gd name="connsiteX6" fmla="*/ 0 w 2733384"/>
              <a:gd name="connsiteY6" fmla="*/ 1190779 h 2384725"/>
              <a:gd name="connsiteX0" fmla="*/ 0 w 2733384"/>
              <a:gd name="connsiteY0" fmla="*/ 1190779 h 2381594"/>
              <a:gd name="connsiteX1" fmla="*/ 689374 w 2733384"/>
              <a:gd name="connsiteY1" fmla="*/ 0 h 2381594"/>
              <a:gd name="connsiteX2" fmla="*/ 2043288 w 2733384"/>
              <a:gd name="connsiteY2" fmla="*/ 15696 h 2381594"/>
              <a:gd name="connsiteX3" fmla="*/ 2733384 w 2733384"/>
              <a:gd name="connsiteY3" fmla="*/ 1188607 h 2381594"/>
              <a:gd name="connsiteX4" fmla="*/ 2058513 w 2733384"/>
              <a:gd name="connsiteY4" fmla="*/ 2381594 h 2381594"/>
              <a:gd name="connsiteX5" fmla="*/ 687045 w 2733384"/>
              <a:gd name="connsiteY5" fmla="*/ 2381328 h 2381594"/>
              <a:gd name="connsiteX6" fmla="*/ 0 w 2733384"/>
              <a:gd name="connsiteY6" fmla="*/ 1190779 h 2381594"/>
              <a:gd name="connsiteX0" fmla="*/ 0 w 2733384"/>
              <a:gd name="connsiteY0" fmla="*/ 1181080 h 2371895"/>
              <a:gd name="connsiteX1" fmla="*/ 681743 w 2733384"/>
              <a:gd name="connsiteY1" fmla="*/ 0 h 2371895"/>
              <a:gd name="connsiteX2" fmla="*/ 2043288 w 2733384"/>
              <a:gd name="connsiteY2" fmla="*/ 5997 h 2371895"/>
              <a:gd name="connsiteX3" fmla="*/ 2733384 w 2733384"/>
              <a:gd name="connsiteY3" fmla="*/ 1178908 h 2371895"/>
              <a:gd name="connsiteX4" fmla="*/ 2058513 w 2733384"/>
              <a:gd name="connsiteY4" fmla="*/ 2371895 h 2371895"/>
              <a:gd name="connsiteX5" fmla="*/ 687045 w 2733384"/>
              <a:gd name="connsiteY5" fmla="*/ 2371629 h 2371895"/>
              <a:gd name="connsiteX6" fmla="*/ 0 w 2733384"/>
              <a:gd name="connsiteY6" fmla="*/ 1181080 h 2371895"/>
              <a:gd name="connsiteX0" fmla="*/ 0 w 2733384"/>
              <a:gd name="connsiteY0" fmla="*/ 1182227 h 2373042"/>
              <a:gd name="connsiteX1" fmla="*/ 683728 w 2733384"/>
              <a:gd name="connsiteY1" fmla="*/ 0 h 2373042"/>
              <a:gd name="connsiteX2" fmla="*/ 2043288 w 2733384"/>
              <a:gd name="connsiteY2" fmla="*/ 7144 h 2373042"/>
              <a:gd name="connsiteX3" fmla="*/ 2733384 w 2733384"/>
              <a:gd name="connsiteY3" fmla="*/ 1180055 h 2373042"/>
              <a:gd name="connsiteX4" fmla="*/ 2058513 w 2733384"/>
              <a:gd name="connsiteY4" fmla="*/ 2373042 h 2373042"/>
              <a:gd name="connsiteX5" fmla="*/ 687045 w 2733384"/>
              <a:gd name="connsiteY5" fmla="*/ 2372776 h 2373042"/>
              <a:gd name="connsiteX6" fmla="*/ 0 w 2733384"/>
              <a:gd name="connsiteY6" fmla="*/ 1182227 h 2373042"/>
              <a:gd name="connsiteX0" fmla="*/ 0 w 2733384"/>
              <a:gd name="connsiteY0" fmla="*/ 1182227 h 2373042"/>
              <a:gd name="connsiteX1" fmla="*/ 683728 w 2733384"/>
              <a:gd name="connsiteY1" fmla="*/ 0 h 2373042"/>
              <a:gd name="connsiteX2" fmla="*/ 2043288 w 2733384"/>
              <a:gd name="connsiteY2" fmla="*/ 7144 h 2373042"/>
              <a:gd name="connsiteX3" fmla="*/ 2733384 w 2733384"/>
              <a:gd name="connsiteY3" fmla="*/ 1180055 h 2373042"/>
              <a:gd name="connsiteX4" fmla="*/ 2058513 w 2733384"/>
              <a:gd name="connsiteY4" fmla="*/ 2373042 h 2373042"/>
              <a:gd name="connsiteX5" fmla="*/ 687045 w 2733384"/>
              <a:gd name="connsiteY5" fmla="*/ 2372776 h 2373042"/>
              <a:gd name="connsiteX6" fmla="*/ 0 w 2733384"/>
              <a:gd name="connsiteY6" fmla="*/ 1182227 h 2373042"/>
              <a:gd name="connsiteX0" fmla="*/ 0 w 2733384"/>
              <a:gd name="connsiteY0" fmla="*/ 1184518 h 2375333"/>
              <a:gd name="connsiteX1" fmla="*/ 687697 w 2733384"/>
              <a:gd name="connsiteY1" fmla="*/ 0 h 2375333"/>
              <a:gd name="connsiteX2" fmla="*/ 2043288 w 2733384"/>
              <a:gd name="connsiteY2" fmla="*/ 9435 h 2375333"/>
              <a:gd name="connsiteX3" fmla="*/ 2733384 w 2733384"/>
              <a:gd name="connsiteY3" fmla="*/ 1182346 h 2375333"/>
              <a:gd name="connsiteX4" fmla="*/ 2058513 w 2733384"/>
              <a:gd name="connsiteY4" fmla="*/ 2375333 h 2375333"/>
              <a:gd name="connsiteX5" fmla="*/ 687045 w 2733384"/>
              <a:gd name="connsiteY5" fmla="*/ 2375067 h 2375333"/>
              <a:gd name="connsiteX6" fmla="*/ 0 w 2733384"/>
              <a:gd name="connsiteY6" fmla="*/ 1184518 h 2375333"/>
              <a:gd name="connsiteX0" fmla="*/ 0 w 2733384"/>
              <a:gd name="connsiteY0" fmla="*/ 1177950 h 2368765"/>
              <a:gd name="connsiteX1" fmla="*/ 680904 w 2733384"/>
              <a:gd name="connsiteY1" fmla="*/ 0 h 2368765"/>
              <a:gd name="connsiteX2" fmla="*/ 2043288 w 2733384"/>
              <a:gd name="connsiteY2" fmla="*/ 2867 h 2368765"/>
              <a:gd name="connsiteX3" fmla="*/ 2733384 w 2733384"/>
              <a:gd name="connsiteY3" fmla="*/ 1175778 h 2368765"/>
              <a:gd name="connsiteX4" fmla="*/ 2058513 w 2733384"/>
              <a:gd name="connsiteY4" fmla="*/ 2368765 h 2368765"/>
              <a:gd name="connsiteX5" fmla="*/ 687045 w 2733384"/>
              <a:gd name="connsiteY5" fmla="*/ 2368499 h 2368765"/>
              <a:gd name="connsiteX6" fmla="*/ 0 w 2733384"/>
              <a:gd name="connsiteY6" fmla="*/ 1177950 h 2368765"/>
              <a:gd name="connsiteX0" fmla="*/ 0 w 2733384"/>
              <a:gd name="connsiteY0" fmla="*/ 1181388 h 2372203"/>
              <a:gd name="connsiteX1" fmla="*/ 686858 w 2733384"/>
              <a:gd name="connsiteY1" fmla="*/ 0 h 2372203"/>
              <a:gd name="connsiteX2" fmla="*/ 2043288 w 2733384"/>
              <a:gd name="connsiteY2" fmla="*/ 6305 h 2372203"/>
              <a:gd name="connsiteX3" fmla="*/ 2733384 w 2733384"/>
              <a:gd name="connsiteY3" fmla="*/ 1179216 h 2372203"/>
              <a:gd name="connsiteX4" fmla="*/ 2058513 w 2733384"/>
              <a:gd name="connsiteY4" fmla="*/ 2372203 h 2372203"/>
              <a:gd name="connsiteX5" fmla="*/ 687045 w 2733384"/>
              <a:gd name="connsiteY5" fmla="*/ 2371937 h 2372203"/>
              <a:gd name="connsiteX6" fmla="*/ 0 w 2733384"/>
              <a:gd name="connsiteY6" fmla="*/ 1181388 h 2372203"/>
              <a:gd name="connsiteX0" fmla="*/ 0 w 2733384"/>
              <a:gd name="connsiteY0" fmla="*/ 1183022 h 2373837"/>
              <a:gd name="connsiteX1" fmla="*/ 686858 w 2733384"/>
              <a:gd name="connsiteY1" fmla="*/ 1634 h 2373837"/>
              <a:gd name="connsiteX2" fmla="*/ 2038705 w 2733384"/>
              <a:gd name="connsiteY2" fmla="*/ 0 h 2373837"/>
              <a:gd name="connsiteX3" fmla="*/ 2733384 w 2733384"/>
              <a:gd name="connsiteY3" fmla="*/ 1180850 h 2373837"/>
              <a:gd name="connsiteX4" fmla="*/ 2058513 w 2733384"/>
              <a:gd name="connsiteY4" fmla="*/ 2373837 h 2373837"/>
              <a:gd name="connsiteX5" fmla="*/ 687045 w 2733384"/>
              <a:gd name="connsiteY5" fmla="*/ 2373571 h 2373837"/>
              <a:gd name="connsiteX6" fmla="*/ 0 w 2733384"/>
              <a:gd name="connsiteY6" fmla="*/ 1183022 h 2373837"/>
              <a:gd name="connsiteX0" fmla="*/ 0 w 2733384"/>
              <a:gd name="connsiteY0" fmla="*/ 1183022 h 3496916"/>
              <a:gd name="connsiteX1" fmla="*/ 686858 w 2733384"/>
              <a:gd name="connsiteY1" fmla="*/ 1634 h 3496916"/>
              <a:gd name="connsiteX2" fmla="*/ 2038705 w 2733384"/>
              <a:gd name="connsiteY2" fmla="*/ 0 h 3496916"/>
              <a:gd name="connsiteX3" fmla="*/ 2733384 w 2733384"/>
              <a:gd name="connsiteY3" fmla="*/ 1180850 h 3496916"/>
              <a:gd name="connsiteX4" fmla="*/ 2058513 w 2733384"/>
              <a:gd name="connsiteY4" fmla="*/ 2373837 h 3496916"/>
              <a:gd name="connsiteX5" fmla="*/ 1364736 w 2733384"/>
              <a:gd name="connsiteY5" fmla="*/ 3496916 h 3496916"/>
              <a:gd name="connsiteX6" fmla="*/ 0 w 2733384"/>
              <a:gd name="connsiteY6" fmla="*/ 1183022 h 3496916"/>
              <a:gd name="connsiteX0" fmla="*/ 0 w 2733384"/>
              <a:gd name="connsiteY0" fmla="*/ 1183022 h 3496916"/>
              <a:gd name="connsiteX1" fmla="*/ 686858 w 2733384"/>
              <a:gd name="connsiteY1" fmla="*/ 1634 h 3496916"/>
              <a:gd name="connsiteX2" fmla="*/ 2038705 w 2733384"/>
              <a:gd name="connsiteY2" fmla="*/ 0 h 3496916"/>
              <a:gd name="connsiteX3" fmla="*/ 2733384 w 2733384"/>
              <a:gd name="connsiteY3" fmla="*/ 1180850 h 3496916"/>
              <a:gd name="connsiteX4" fmla="*/ 2693131 w 2733384"/>
              <a:gd name="connsiteY4" fmla="*/ 3485642 h 3496916"/>
              <a:gd name="connsiteX5" fmla="*/ 1364736 w 2733384"/>
              <a:gd name="connsiteY5" fmla="*/ 3496916 h 3496916"/>
              <a:gd name="connsiteX6" fmla="*/ 0 w 2733384"/>
              <a:gd name="connsiteY6" fmla="*/ 1183022 h 3496916"/>
              <a:gd name="connsiteX0" fmla="*/ 0 w 3374535"/>
              <a:gd name="connsiteY0" fmla="*/ 1183022 h 3496916"/>
              <a:gd name="connsiteX1" fmla="*/ 686858 w 3374535"/>
              <a:gd name="connsiteY1" fmla="*/ 1634 h 3496916"/>
              <a:gd name="connsiteX2" fmla="*/ 2038705 w 3374535"/>
              <a:gd name="connsiteY2" fmla="*/ 0 h 3496916"/>
              <a:gd name="connsiteX3" fmla="*/ 3374535 w 3374535"/>
              <a:gd name="connsiteY3" fmla="*/ 2354419 h 3496916"/>
              <a:gd name="connsiteX4" fmla="*/ 2693131 w 3374535"/>
              <a:gd name="connsiteY4" fmla="*/ 3485642 h 3496916"/>
              <a:gd name="connsiteX5" fmla="*/ 1364736 w 3374535"/>
              <a:gd name="connsiteY5" fmla="*/ 3496916 h 3496916"/>
              <a:gd name="connsiteX6" fmla="*/ 0 w 3374535"/>
              <a:gd name="connsiteY6" fmla="*/ 1183022 h 349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74535" h="3496916">
                <a:moveTo>
                  <a:pt x="0" y="1183022"/>
                </a:moveTo>
                <a:lnTo>
                  <a:pt x="686858" y="1634"/>
                </a:lnTo>
                <a:lnTo>
                  <a:pt x="2038705" y="0"/>
                </a:lnTo>
                <a:lnTo>
                  <a:pt x="3374535" y="2354419"/>
                </a:lnTo>
                <a:lnTo>
                  <a:pt x="2693131" y="3485642"/>
                </a:lnTo>
                <a:lnTo>
                  <a:pt x="1364736" y="3496916"/>
                </a:lnTo>
                <a:lnTo>
                  <a:pt x="0" y="1183022"/>
                </a:lnTo>
                <a:close/>
              </a:path>
            </a:pathLst>
          </a:custGeom>
          <a:noFill/>
          <a:ln w="168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peech Bubble: Rectangle with Corners Rounded 18">
            <a:extLst>
              <a:ext uri="{FF2B5EF4-FFF2-40B4-BE49-F238E27FC236}">
                <a16:creationId xmlns:a16="http://schemas.microsoft.com/office/drawing/2014/main" id="{51542B6D-D767-4B55-A1D1-053D648CCAAC}"/>
              </a:ext>
            </a:extLst>
          </p:cNvPr>
          <p:cNvSpPr/>
          <p:nvPr/>
        </p:nvSpPr>
        <p:spPr>
          <a:xfrm>
            <a:off x="1109892" y="4047950"/>
            <a:ext cx="2493294" cy="586946"/>
          </a:xfrm>
          <a:prstGeom prst="wedgeRoundRectCallout">
            <a:avLst>
              <a:gd name="adj1" fmla="val 108428"/>
              <a:gd name="adj2" fmla="val 155611"/>
              <a:gd name="adj3" fmla="val 1666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he object’s role in the safety of a facility</a:t>
            </a:r>
          </a:p>
        </p:txBody>
      </p:sp>
      <p:sp>
        <p:nvSpPr>
          <p:cNvPr id="20" name="Speech Bubble: Rectangle with Corners Rounded 19">
            <a:extLst>
              <a:ext uri="{FF2B5EF4-FFF2-40B4-BE49-F238E27FC236}">
                <a16:creationId xmlns:a16="http://schemas.microsoft.com/office/drawing/2014/main" id="{B0F516DC-C6E8-448D-805A-5DB4655496CC}"/>
              </a:ext>
            </a:extLst>
          </p:cNvPr>
          <p:cNvSpPr/>
          <p:nvPr/>
        </p:nvSpPr>
        <p:spPr>
          <a:xfrm>
            <a:off x="7924801" y="4265547"/>
            <a:ext cx="2799996" cy="936647"/>
          </a:xfrm>
          <a:prstGeom prst="wedgeRoundRectCallout">
            <a:avLst>
              <a:gd name="adj1" fmla="val -83268"/>
              <a:gd name="adj2" fmla="val 51974"/>
              <a:gd name="adj3" fmla="val 16667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 simplified analytical view of the object, for a specific analysis</a:t>
            </a:r>
          </a:p>
        </p:txBody>
      </p:sp>
    </p:spTree>
    <p:extLst>
      <p:ext uri="{BB962C8B-B14F-4D97-AF65-F5344CB8AC3E}">
        <p14:creationId xmlns:p14="http://schemas.microsoft.com/office/powerpoint/2010/main" val="6907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2491D9D8-A26F-40BC-8432-706BE95762DE}"/>
              </a:ext>
            </a:extLst>
          </p:cNvPr>
          <p:cNvSpPr/>
          <p:nvPr/>
        </p:nvSpPr>
        <p:spPr>
          <a:xfrm>
            <a:off x="4721820" y="1379356"/>
            <a:ext cx="2235270" cy="3733865"/>
          </a:xfrm>
          <a:prstGeom prst="roundRect">
            <a:avLst>
              <a:gd name="adj" fmla="val 12417"/>
            </a:avLst>
          </a:pr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56CA7EF7-32EF-4F48-8D6F-E31D75EA6649}"/>
              </a:ext>
            </a:extLst>
          </p:cNvPr>
          <p:cNvGrpSpPr/>
          <p:nvPr/>
        </p:nvGrpSpPr>
        <p:grpSpPr>
          <a:xfrm>
            <a:off x="8175376" y="3211104"/>
            <a:ext cx="867032" cy="507646"/>
            <a:chOff x="2632334" y="2018331"/>
            <a:chExt cx="867032" cy="507646"/>
          </a:xfrm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CD238AE-1409-4BC9-A11F-77C78F8CA07D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8BC929A1-2A4C-46CB-80BF-6426EDE3CB76}"/>
                </a:ext>
              </a:extLst>
            </p:cNvPr>
            <p:cNvSpPr txBox="1"/>
            <p:nvPr/>
          </p:nvSpPr>
          <p:spPr>
            <a:xfrm>
              <a:off x="2705817" y="2064312"/>
              <a:ext cx="72006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Regular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tory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80500B3E-2F3A-43E3-B474-552CACF64EE3}"/>
              </a:ext>
            </a:extLst>
          </p:cNvPr>
          <p:cNvGrpSpPr/>
          <p:nvPr/>
        </p:nvGrpSpPr>
        <p:grpSpPr>
          <a:xfrm>
            <a:off x="8175376" y="3821006"/>
            <a:ext cx="867032" cy="507646"/>
            <a:chOff x="2632334" y="2018331"/>
            <a:chExt cx="867032" cy="507646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AEDDEB1-1A26-46D9-B244-75C156E433E2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D3585BDA-CEEB-4978-81F2-91390EBB5DA3}"/>
                </a:ext>
              </a:extLst>
            </p:cNvPr>
            <p:cNvSpPr txBox="1"/>
            <p:nvPr/>
          </p:nvSpPr>
          <p:spPr>
            <a:xfrm>
              <a:off x="2658530" y="2064312"/>
              <a:ext cx="81464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Elevation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tory</a:t>
              </a: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B1B4A94B-4328-43F3-97B2-FD53C177EF46}"/>
              </a:ext>
            </a:extLst>
          </p:cNvPr>
          <p:cNvSpPr txBox="1"/>
          <p:nvPr/>
        </p:nvSpPr>
        <p:spPr>
          <a:xfrm>
            <a:off x="6847583" y="3615357"/>
            <a:ext cx="16580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has subclasses 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Spatial/Physical Hierarchy: BIS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D7FC7BC-7529-45A1-BA06-6CE401543296}"/>
              </a:ext>
            </a:extLst>
          </p:cNvPr>
          <p:cNvSpPr/>
          <p:nvPr/>
        </p:nvSpPr>
        <p:spPr>
          <a:xfrm>
            <a:off x="4471272" y="7012601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EC8B4BB4-4741-4411-8F84-2A016DE864DA}"/>
              </a:ext>
            </a:extLst>
          </p:cNvPr>
          <p:cNvSpPr/>
          <p:nvPr/>
        </p:nvSpPr>
        <p:spPr>
          <a:xfrm>
            <a:off x="4883516" y="3011702"/>
            <a:ext cx="1934702" cy="1965652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B8EDC8B-1552-42A2-A823-F3B85407C792}"/>
              </a:ext>
            </a:extLst>
          </p:cNvPr>
          <p:cNvSpPr txBox="1"/>
          <p:nvPr/>
        </p:nvSpPr>
        <p:spPr>
          <a:xfrm>
            <a:off x="5693454" y="1599099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65BF5C0C-67E3-4232-AFF6-6C04FC45275A}"/>
              </a:ext>
            </a:extLst>
          </p:cNvPr>
          <p:cNvGrpSpPr/>
          <p:nvPr/>
        </p:nvGrpSpPr>
        <p:grpSpPr>
          <a:xfrm>
            <a:off x="5419614" y="2768266"/>
            <a:ext cx="867032" cy="501921"/>
            <a:chOff x="2632334" y="2018331"/>
            <a:chExt cx="867032" cy="501921"/>
          </a:xfrm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EA6E20E4-B100-444B-96DC-5592F846C89F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87AF597D-A5FE-4A8E-9D03-5B6C81845366}"/>
                </a:ext>
              </a:extLst>
            </p:cNvPr>
            <p:cNvSpPr txBox="1"/>
            <p:nvPr/>
          </p:nvSpPr>
          <p:spPr>
            <a:xfrm>
              <a:off x="2701809" y="2130301"/>
              <a:ext cx="7280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Building</a:t>
              </a:r>
            </a:p>
          </p:txBody>
        </p:sp>
      </p:grp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A3C6E97B-A6A5-47A5-BB7E-7626DFB9C77C}"/>
              </a:ext>
            </a:extLst>
          </p:cNvPr>
          <p:cNvSpPr/>
          <p:nvPr/>
        </p:nvSpPr>
        <p:spPr>
          <a:xfrm>
            <a:off x="5003592" y="3756455"/>
            <a:ext cx="1661856" cy="1151645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BF15EF83-9044-4620-9A66-A8E977A04FC6}"/>
              </a:ext>
            </a:extLst>
          </p:cNvPr>
          <p:cNvGrpSpPr/>
          <p:nvPr/>
        </p:nvGrpSpPr>
        <p:grpSpPr>
          <a:xfrm>
            <a:off x="5419614" y="3518389"/>
            <a:ext cx="867032" cy="501921"/>
            <a:chOff x="2632334" y="2018331"/>
            <a:chExt cx="867032" cy="501921"/>
          </a:xfrm>
        </p:grpSpPr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BC2D8026-C31B-4508-95F2-2B21645DE6EB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C069188F-6398-4CAE-A7D8-E6497DA26D89}"/>
                </a:ext>
              </a:extLst>
            </p:cNvPr>
            <p:cNvSpPr txBox="1"/>
            <p:nvPr/>
          </p:nvSpPr>
          <p:spPr>
            <a:xfrm>
              <a:off x="2793981" y="2139728"/>
              <a:ext cx="5437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tory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9A52B82-04E0-417D-8061-C052112563B8}"/>
              </a:ext>
            </a:extLst>
          </p:cNvPr>
          <p:cNvGrpSpPr/>
          <p:nvPr/>
        </p:nvGrpSpPr>
        <p:grpSpPr>
          <a:xfrm>
            <a:off x="10267233" y="5508678"/>
            <a:ext cx="867032" cy="501921"/>
            <a:chOff x="8144873" y="2723071"/>
            <a:chExt cx="867032" cy="501921"/>
          </a:xfrm>
        </p:grpSpPr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C98B1D74-95B0-4D0E-B617-AEA1A3144425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75D210FA-7C54-4055-A0A7-96FF623FF71F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C2530312-EE3C-406F-ABA0-2716E4DF9852}"/>
              </a:ext>
            </a:extLst>
          </p:cNvPr>
          <p:cNvGrpSpPr/>
          <p:nvPr/>
        </p:nvGrpSpPr>
        <p:grpSpPr>
          <a:xfrm>
            <a:off x="5419614" y="4223043"/>
            <a:ext cx="867032" cy="501921"/>
            <a:chOff x="2632334" y="2018331"/>
            <a:chExt cx="867032" cy="501921"/>
          </a:xfrm>
        </p:grpSpPr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7BFF8635-579D-4159-B454-B87D8A824AD9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32AA25BC-054B-4879-874B-16420C296CA6}"/>
                </a:ext>
              </a:extLst>
            </p:cNvPr>
            <p:cNvSpPr txBox="1"/>
            <p:nvPr/>
          </p:nvSpPr>
          <p:spPr>
            <a:xfrm>
              <a:off x="2756311" y="2130301"/>
              <a:ext cx="6190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pace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70C089F6-E737-4CDC-9883-18F8760F95A8}"/>
              </a:ext>
            </a:extLst>
          </p:cNvPr>
          <p:cNvGrpSpPr/>
          <p:nvPr/>
        </p:nvGrpSpPr>
        <p:grpSpPr>
          <a:xfrm>
            <a:off x="5419614" y="1139284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219E17A7-ACF4-42FD-A493-9D8D4A9A4D61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1FA2CB8A-A0B6-4498-9826-B032B054AE1B}"/>
                </a:ext>
              </a:extLst>
            </p:cNvPr>
            <p:cNvSpPr txBox="1"/>
            <p:nvPr/>
          </p:nvSpPr>
          <p:spPr>
            <a:xfrm>
              <a:off x="3012089" y="1373641"/>
              <a:ext cx="6960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ubject</a:t>
              </a: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74E00DBA-8418-4032-BA6C-23E719F94182}"/>
              </a:ext>
            </a:extLst>
          </p:cNvPr>
          <p:cNvGrpSpPr/>
          <p:nvPr/>
        </p:nvGrpSpPr>
        <p:grpSpPr>
          <a:xfrm>
            <a:off x="8103958" y="5456517"/>
            <a:ext cx="1049665" cy="607647"/>
            <a:chOff x="2410853" y="3441340"/>
            <a:chExt cx="953829" cy="552168"/>
          </a:xfrm>
        </p:grpSpPr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00857AF0-19AE-410F-AE9F-6F369F32181F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4BDD1E60-DD14-4B9F-BCA6-DC8197E17DAC}"/>
                </a:ext>
              </a:extLst>
            </p:cNvPr>
            <p:cNvSpPr txBox="1"/>
            <p:nvPr/>
          </p:nvSpPr>
          <p:spPr>
            <a:xfrm>
              <a:off x="2544583" y="3524565"/>
              <a:ext cx="686372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hysic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Element</a:t>
              </a: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A52C2488-C8EE-4CA0-B598-240EAE9FF8D3}"/>
              </a:ext>
            </a:extLst>
          </p:cNvPr>
          <p:cNvGrpSpPr/>
          <p:nvPr/>
        </p:nvGrpSpPr>
        <p:grpSpPr>
          <a:xfrm>
            <a:off x="5068509" y="5329302"/>
            <a:ext cx="1569243" cy="862077"/>
            <a:chOff x="2300259" y="1850812"/>
            <a:chExt cx="1569243" cy="862077"/>
          </a:xfrm>
        </p:grpSpPr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9E29B607-D4A6-47E6-B08B-E91775B7D796}"/>
                </a:ext>
              </a:extLst>
            </p:cNvPr>
            <p:cNvSpPr/>
            <p:nvPr/>
          </p:nvSpPr>
          <p:spPr>
            <a:xfrm rot="12600000" flipV="1">
              <a:off x="2328426" y="1850812"/>
              <a:ext cx="1541076" cy="862077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A6DD9A7-0BD0-4ACD-8D18-E69C51908F7A}"/>
                </a:ext>
              </a:extLst>
            </p:cNvPr>
            <p:cNvSpPr txBox="1"/>
            <p:nvPr/>
          </p:nvSpPr>
          <p:spPr>
            <a:xfrm>
              <a:off x="2300259" y="2130301"/>
              <a:ext cx="153118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 err="1">
                  <a:solidFill>
                    <a:schemeClr val="bg1"/>
                  </a:solidFill>
                </a:rPr>
                <a:t>CompositeElemen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53" name="TextBox 152">
            <a:extLst>
              <a:ext uri="{FF2B5EF4-FFF2-40B4-BE49-F238E27FC236}">
                <a16:creationId xmlns:a16="http://schemas.microsoft.com/office/drawing/2014/main" id="{B24A0A11-6948-4BCD-A8EB-722CB4D61B88}"/>
              </a:ext>
            </a:extLst>
          </p:cNvPr>
          <p:cNvSpPr txBox="1"/>
          <p:nvPr/>
        </p:nvSpPr>
        <p:spPr>
          <a:xfrm>
            <a:off x="6657724" y="5498965"/>
            <a:ext cx="137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overlaps </a:t>
            </a:r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5DD763CD-EA1E-47D0-AED7-371CF3DFD81F}"/>
              </a:ext>
            </a:extLst>
          </p:cNvPr>
          <p:cNvCxnSpPr>
            <a:cxnSpLocks/>
            <a:stCxn id="151" idx="6"/>
            <a:endCxn id="132" idx="0"/>
          </p:cNvCxnSpPr>
          <p:nvPr/>
        </p:nvCxnSpPr>
        <p:spPr>
          <a:xfrm flipV="1">
            <a:off x="6750039" y="5759639"/>
            <a:ext cx="1273132" cy="12680"/>
          </a:xfrm>
          <a:prstGeom prst="straightConnector1">
            <a:avLst/>
          </a:prstGeom>
          <a:ln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:a16="http://schemas.microsoft.com/office/drawing/2014/main" id="{0590F153-3779-47DD-9948-905169FCD79E}"/>
              </a:ext>
            </a:extLst>
          </p:cNvPr>
          <p:cNvSpPr txBox="1"/>
          <p:nvPr/>
        </p:nvSpPr>
        <p:spPr>
          <a:xfrm>
            <a:off x="9149375" y="5595290"/>
            <a:ext cx="7738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can be 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47802FDD-1085-4B3C-9A6A-A7A438CCE67E}"/>
              </a:ext>
            </a:extLst>
          </p:cNvPr>
          <p:cNvSpPr txBox="1"/>
          <p:nvPr/>
        </p:nvSpPr>
        <p:spPr>
          <a:xfrm>
            <a:off x="4397090" y="671312"/>
            <a:ext cx="28740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Spatial Structure Hierarchy</a:t>
            </a:r>
          </a:p>
        </p:txBody>
      </p:sp>
      <p:sp>
        <p:nvSpPr>
          <p:cNvPr id="157" name="Rectangle: Rounded Corners 156">
            <a:extLst>
              <a:ext uri="{FF2B5EF4-FFF2-40B4-BE49-F238E27FC236}">
                <a16:creationId xmlns:a16="http://schemas.microsoft.com/office/drawing/2014/main" id="{75177FEE-8B23-4945-83C8-3B8A11B62E7D}"/>
              </a:ext>
            </a:extLst>
          </p:cNvPr>
          <p:cNvSpPr/>
          <p:nvPr/>
        </p:nvSpPr>
        <p:spPr>
          <a:xfrm>
            <a:off x="335713" y="2028901"/>
            <a:ext cx="3599974" cy="3586086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2E8115C4-4665-4580-AF99-DCDC72EFF981}"/>
              </a:ext>
            </a:extLst>
          </p:cNvPr>
          <p:cNvSpPr/>
          <p:nvPr/>
        </p:nvSpPr>
        <p:spPr>
          <a:xfrm>
            <a:off x="457351" y="3005526"/>
            <a:ext cx="3303442" cy="248087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6DB32D40-5ABB-40C2-86F8-8E71898B712E}"/>
              </a:ext>
            </a:extLst>
          </p:cNvPr>
          <p:cNvSpPr/>
          <p:nvPr/>
        </p:nvSpPr>
        <p:spPr>
          <a:xfrm>
            <a:off x="566869" y="3745296"/>
            <a:ext cx="2644018" cy="162391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60" name="Rectangle: Rounded Corners 159">
            <a:extLst>
              <a:ext uri="{FF2B5EF4-FFF2-40B4-BE49-F238E27FC236}">
                <a16:creationId xmlns:a16="http://schemas.microsoft.com/office/drawing/2014/main" id="{CD766438-3850-4B69-B35E-BDFBD45A358D}"/>
              </a:ext>
            </a:extLst>
          </p:cNvPr>
          <p:cNvSpPr/>
          <p:nvPr/>
        </p:nvSpPr>
        <p:spPr>
          <a:xfrm>
            <a:off x="1040633" y="1794883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lex</a:t>
            </a: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D57FB4FC-6AF1-48EC-8988-99CB443A911F}"/>
              </a:ext>
            </a:extLst>
          </p:cNvPr>
          <p:cNvSpPr/>
          <p:nvPr/>
        </p:nvSpPr>
        <p:spPr>
          <a:xfrm>
            <a:off x="1040633" y="2811309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ntity</a:t>
            </a:r>
          </a:p>
        </p:txBody>
      </p:sp>
      <p:sp>
        <p:nvSpPr>
          <p:cNvPr id="162" name="Rectangle: Rounded Corners 161">
            <a:extLst>
              <a:ext uri="{FF2B5EF4-FFF2-40B4-BE49-F238E27FC236}">
                <a16:creationId xmlns:a16="http://schemas.microsoft.com/office/drawing/2014/main" id="{3911B10D-4BAF-4EA5-8339-A30B3FA4510D}"/>
              </a:ext>
            </a:extLst>
          </p:cNvPr>
          <p:cNvSpPr/>
          <p:nvPr/>
        </p:nvSpPr>
        <p:spPr>
          <a:xfrm>
            <a:off x="1040633" y="3516410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163" name="Rectangle: Rounded Corners 162">
            <a:extLst>
              <a:ext uri="{FF2B5EF4-FFF2-40B4-BE49-F238E27FC236}">
                <a16:creationId xmlns:a16="http://schemas.microsoft.com/office/drawing/2014/main" id="{B963FA65-ECEF-462F-A658-C53CF5BEF88A}"/>
              </a:ext>
            </a:extLst>
          </p:cNvPr>
          <p:cNvSpPr/>
          <p:nvPr/>
        </p:nvSpPr>
        <p:spPr>
          <a:xfrm>
            <a:off x="2494594" y="3172938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326A7D25-784D-4896-A0A7-FF172FB9949E}"/>
              </a:ext>
            </a:extLst>
          </p:cNvPr>
          <p:cNvSpPr/>
          <p:nvPr/>
        </p:nvSpPr>
        <p:spPr>
          <a:xfrm>
            <a:off x="729180" y="4306208"/>
            <a:ext cx="2308535" cy="90306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B39BBBC8-BC06-48CC-85C3-399A25463864}"/>
              </a:ext>
            </a:extLst>
          </p:cNvPr>
          <p:cNvSpPr/>
          <p:nvPr/>
        </p:nvSpPr>
        <p:spPr>
          <a:xfrm>
            <a:off x="1040633" y="4086751"/>
            <a:ext cx="1060020" cy="438915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  <p:sp>
        <p:nvSpPr>
          <p:cNvPr id="166" name="Rectangle: Rounded Corners 165">
            <a:extLst>
              <a:ext uri="{FF2B5EF4-FFF2-40B4-BE49-F238E27FC236}">
                <a16:creationId xmlns:a16="http://schemas.microsoft.com/office/drawing/2014/main" id="{8C0208CA-CA3C-4AF0-B2BE-D902D7163B61}"/>
              </a:ext>
            </a:extLst>
          </p:cNvPr>
          <p:cNvSpPr/>
          <p:nvPr/>
        </p:nvSpPr>
        <p:spPr>
          <a:xfrm>
            <a:off x="1040633" y="4674306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9480DD29-8289-485A-9CC9-2FA3CBA049C1}"/>
              </a:ext>
            </a:extLst>
          </p:cNvPr>
          <p:cNvSpPr txBox="1"/>
          <p:nvPr/>
        </p:nvSpPr>
        <p:spPr>
          <a:xfrm>
            <a:off x="832873" y="1265674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UNICLASS</a:t>
            </a:r>
          </a:p>
        </p:txBody>
      </p: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69CA9469-8603-415A-B828-8A3800886D3B}"/>
              </a:ext>
            </a:extLst>
          </p:cNvPr>
          <p:cNvGrpSpPr/>
          <p:nvPr/>
        </p:nvGrpSpPr>
        <p:grpSpPr>
          <a:xfrm>
            <a:off x="10681332" y="5824954"/>
            <a:ext cx="1074668" cy="607647"/>
            <a:chOff x="2399494" y="3441340"/>
            <a:chExt cx="976549" cy="552168"/>
          </a:xfrm>
          <a:solidFill>
            <a:srgbClr val="C00000"/>
          </a:solidFill>
        </p:grpSpPr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595B173D-9067-499F-8FD0-053689312181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DDB2B069-E17E-4275-912D-5F803D6D6D50}"/>
                </a:ext>
              </a:extLst>
            </p:cNvPr>
            <p:cNvSpPr txBox="1"/>
            <p:nvPr/>
          </p:nvSpPr>
          <p:spPr>
            <a:xfrm>
              <a:off x="2399494" y="3498866"/>
              <a:ext cx="9765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613E1255-E8E7-4AB8-8834-915CE63AEC1C}"/>
              </a:ext>
            </a:extLst>
          </p:cNvPr>
          <p:cNvGrpSpPr/>
          <p:nvPr/>
        </p:nvGrpSpPr>
        <p:grpSpPr>
          <a:xfrm>
            <a:off x="10027580" y="6193285"/>
            <a:ext cx="1049665" cy="607647"/>
            <a:chOff x="2410853" y="3441340"/>
            <a:chExt cx="953829" cy="552168"/>
          </a:xfrm>
        </p:grpSpPr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6F016B8-0E37-4F0F-8D8A-4159E052000E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9AA592EB-611A-4F3F-9330-8E3304299826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pic>
        <p:nvPicPr>
          <p:cNvPr id="187" name="Picture 186">
            <a:extLst>
              <a:ext uri="{FF2B5EF4-FFF2-40B4-BE49-F238E27FC236}">
                <a16:creationId xmlns:a16="http://schemas.microsoft.com/office/drawing/2014/main" id="{92C37B3E-D712-4C26-BC92-918BE03B03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82066" y="3288136"/>
            <a:ext cx="2170224" cy="6930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8" name="TextBox 187">
            <a:extLst>
              <a:ext uri="{FF2B5EF4-FFF2-40B4-BE49-F238E27FC236}">
                <a16:creationId xmlns:a16="http://schemas.microsoft.com/office/drawing/2014/main" id="{B7C336DA-7CCF-4B41-9474-CF4855EAEC6D}"/>
              </a:ext>
            </a:extLst>
          </p:cNvPr>
          <p:cNvSpPr txBox="1"/>
          <p:nvPr/>
        </p:nvSpPr>
        <p:spPr>
          <a:xfrm>
            <a:off x="9746955" y="2933411"/>
            <a:ext cx="20046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IFC </a:t>
            </a:r>
            <a:r>
              <a:rPr lang="en-US" sz="1400" dirty="0" err="1"/>
              <a:t>CompositionType</a:t>
            </a:r>
            <a:endParaRPr lang="en-US" sz="1400" dirty="0"/>
          </a:p>
        </p:txBody>
      </p:sp>
      <p:sp>
        <p:nvSpPr>
          <p:cNvPr id="189" name="Speech Bubble: Rectangle with Corners Rounded 188">
            <a:extLst>
              <a:ext uri="{FF2B5EF4-FFF2-40B4-BE49-F238E27FC236}">
                <a16:creationId xmlns:a16="http://schemas.microsoft.com/office/drawing/2014/main" id="{348B2574-7CEF-4B92-8BF5-38AEB17C4613}"/>
              </a:ext>
            </a:extLst>
          </p:cNvPr>
          <p:cNvSpPr/>
          <p:nvPr/>
        </p:nvSpPr>
        <p:spPr>
          <a:xfrm>
            <a:off x="8968929" y="4106793"/>
            <a:ext cx="3058314" cy="855457"/>
          </a:xfrm>
          <a:prstGeom prst="wedgeRoundRectCallout">
            <a:avLst>
              <a:gd name="adj1" fmla="val 5291"/>
              <a:gd name="adj2" fmla="val -79545"/>
              <a:gd name="adj3" fmla="val 16667"/>
            </a:avLst>
          </a:prstGeom>
          <a:solidFill>
            <a:srgbClr val="FFC00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2"/>
                </a:solidFill>
              </a:rPr>
              <a:t>Should we sub-class where IFC use </a:t>
            </a:r>
            <a:r>
              <a:rPr lang="en-US" sz="1050" dirty="0" err="1">
                <a:solidFill>
                  <a:schemeClr val="tx2"/>
                </a:solidFill>
              </a:rPr>
              <a:t>CompositionType</a:t>
            </a:r>
            <a:r>
              <a:rPr lang="en-US" sz="1050" dirty="0">
                <a:solidFill>
                  <a:schemeClr val="tx2"/>
                </a:solidFill>
              </a:rPr>
              <a:t> </a:t>
            </a:r>
            <a:r>
              <a:rPr lang="en-US" sz="1050" dirty="0" err="1">
                <a:solidFill>
                  <a:schemeClr val="tx2"/>
                </a:solidFill>
              </a:rPr>
              <a:t>enum</a:t>
            </a:r>
            <a:r>
              <a:rPr lang="en-US" sz="1050" dirty="0">
                <a:solidFill>
                  <a:schemeClr val="tx2"/>
                </a:solidFill>
              </a:rPr>
              <a:t>?</a:t>
            </a:r>
          </a:p>
          <a:p>
            <a:pPr algn="ctr"/>
            <a:r>
              <a:rPr lang="en-US" sz="1050" i="1" dirty="0">
                <a:solidFill>
                  <a:schemeClr val="tx2"/>
                </a:solidFill>
              </a:rPr>
              <a:t>Jonas: (infer from composes relationships.)</a:t>
            </a:r>
          </a:p>
          <a:p>
            <a:pPr algn="ctr"/>
            <a:r>
              <a:rPr lang="en-US" sz="1050" i="1" dirty="0">
                <a:solidFill>
                  <a:schemeClr val="tx2"/>
                </a:solidFill>
              </a:rPr>
              <a:t>Glen: with one parent-child, is it complex-element or element-section?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004D65D-196B-4F43-84BA-620E9F9B9044}"/>
              </a:ext>
            </a:extLst>
          </p:cNvPr>
          <p:cNvGrpSpPr/>
          <p:nvPr/>
        </p:nvGrpSpPr>
        <p:grpSpPr>
          <a:xfrm>
            <a:off x="9695418" y="5215951"/>
            <a:ext cx="867032" cy="501921"/>
            <a:chOff x="8144873" y="2723071"/>
            <a:chExt cx="867032" cy="501921"/>
          </a:xfrm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890D46F9-06E6-4CB6-9BDA-4FFA987C0608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55203BB-EF43-4082-837F-FDF5CBBE9BBA}"/>
                </a:ext>
              </a:extLst>
            </p:cNvPr>
            <p:cNvSpPr txBox="1"/>
            <p:nvPr/>
          </p:nvSpPr>
          <p:spPr>
            <a:xfrm>
              <a:off x="8155893" y="2831501"/>
              <a:ext cx="8499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Assembly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EE1A602D-36FB-4173-B5F9-4C76CEA63C88}"/>
              </a:ext>
            </a:extLst>
          </p:cNvPr>
          <p:cNvGrpSpPr/>
          <p:nvPr/>
        </p:nvGrpSpPr>
        <p:grpSpPr>
          <a:xfrm>
            <a:off x="9706438" y="5799215"/>
            <a:ext cx="867032" cy="501921"/>
            <a:chOff x="8144873" y="2723071"/>
            <a:chExt cx="867032" cy="501921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32A7A8A-227F-4716-9189-7F4EB3050BB4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61F93FCB-6F0A-4EE0-9C13-3E167A0023AE}"/>
                </a:ext>
              </a:extLst>
            </p:cNvPr>
            <p:cNvSpPr txBox="1"/>
            <p:nvPr/>
          </p:nvSpPr>
          <p:spPr>
            <a:xfrm>
              <a:off x="8224021" y="2831501"/>
              <a:ext cx="71365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roduct</a:t>
              </a: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C2C5EE11-1ED8-40E0-BBD0-9BF555D7AC7D}"/>
              </a:ext>
            </a:extLst>
          </p:cNvPr>
          <p:cNvSpPr/>
          <p:nvPr/>
        </p:nvSpPr>
        <p:spPr>
          <a:xfrm>
            <a:off x="4799318" y="2219783"/>
            <a:ext cx="2091676" cy="2813032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B1BB692C-19B2-45B4-9099-5E44FD69EE0F}"/>
              </a:ext>
            </a:extLst>
          </p:cNvPr>
          <p:cNvGrpSpPr/>
          <p:nvPr/>
        </p:nvGrpSpPr>
        <p:grpSpPr>
          <a:xfrm>
            <a:off x="5419614" y="1966221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83A3BF5-6F1B-45F7-A27C-0AE7A72AC23E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1AF00E9-1717-4848-A4E8-047B58FC0545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37178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8" grpId="0"/>
      <p:bldP spid="189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2491D9D8-A26F-40BC-8432-706BE95762DE}"/>
              </a:ext>
            </a:extLst>
          </p:cNvPr>
          <p:cNvSpPr/>
          <p:nvPr/>
        </p:nvSpPr>
        <p:spPr>
          <a:xfrm>
            <a:off x="4721820" y="1379356"/>
            <a:ext cx="2235270" cy="3733865"/>
          </a:xfrm>
          <a:prstGeom prst="roundRect">
            <a:avLst>
              <a:gd name="adj" fmla="val 12417"/>
            </a:avLst>
          </a:pr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56CA7EF7-32EF-4F48-8D6F-E31D75EA6649}"/>
              </a:ext>
            </a:extLst>
          </p:cNvPr>
          <p:cNvGrpSpPr/>
          <p:nvPr/>
        </p:nvGrpSpPr>
        <p:grpSpPr>
          <a:xfrm>
            <a:off x="8175376" y="3211104"/>
            <a:ext cx="867032" cy="507646"/>
            <a:chOff x="2632334" y="2018331"/>
            <a:chExt cx="867032" cy="507646"/>
          </a:xfrm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CD238AE-1409-4BC9-A11F-77C78F8CA07D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8BC929A1-2A4C-46CB-80BF-6426EDE3CB76}"/>
                </a:ext>
              </a:extLst>
            </p:cNvPr>
            <p:cNvSpPr txBox="1"/>
            <p:nvPr/>
          </p:nvSpPr>
          <p:spPr>
            <a:xfrm>
              <a:off x="2705817" y="2064312"/>
              <a:ext cx="72006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Regular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tory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80500B3E-2F3A-43E3-B474-552CACF64EE3}"/>
              </a:ext>
            </a:extLst>
          </p:cNvPr>
          <p:cNvGrpSpPr/>
          <p:nvPr/>
        </p:nvGrpSpPr>
        <p:grpSpPr>
          <a:xfrm>
            <a:off x="8175376" y="3821006"/>
            <a:ext cx="867032" cy="507646"/>
            <a:chOff x="2632334" y="2018331"/>
            <a:chExt cx="867032" cy="507646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AEDDEB1-1A26-46D9-B244-75C156E433E2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D3585BDA-CEEB-4978-81F2-91390EBB5DA3}"/>
                </a:ext>
              </a:extLst>
            </p:cNvPr>
            <p:cNvSpPr txBox="1"/>
            <p:nvPr/>
          </p:nvSpPr>
          <p:spPr>
            <a:xfrm>
              <a:off x="2658530" y="2064312"/>
              <a:ext cx="81464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Elevation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tory</a:t>
              </a: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B1B4A94B-4328-43F3-97B2-FD53C177EF46}"/>
              </a:ext>
            </a:extLst>
          </p:cNvPr>
          <p:cNvSpPr txBox="1"/>
          <p:nvPr/>
        </p:nvSpPr>
        <p:spPr>
          <a:xfrm>
            <a:off x="6847583" y="3615357"/>
            <a:ext cx="16580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has subclasses 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Spatial/Physical Hierarchy: BIS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D7FC7BC-7529-45A1-BA06-6CE401543296}"/>
              </a:ext>
            </a:extLst>
          </p:cNvPr>
          <p:cNvSpPr/>
          <p:nvPr/>
        </p:nvSpPr>
        <p:spPr>
          <a:xfrm>
            <a:off x="4471272" y="7012601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EC8B4BB4-4741-4411-8F84-2A016DE864DA}"/>
              </a:ext>
            </a:extLst>
          </p:cNvPr>
          <p:cNvSpPr/>
          <p:nvPr/>
        </p:nvSpPr>
        <p:spPr>
          <a:xfrm>
            <a:off x="4883516" y="3011702"/>
            <a:ext cx="1934702" cy="1965652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B8EDC8B-1552-42A2-A823-F3B85407C792}"/>
              </a:ext>
            </a:extLst>
          </p:cNvPr>
          <p:cNvSpPr txBox="1"/>
          <p:nvPr/>
        </p:nvSpPr>
        <p:spPr>
          <a:xfrm>
            <a:off x="5693454" y="1599099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65BF5C0C-67E3-4232-AFF6-6C04FC45275A}"/>
              </a:ext>
            </a:extLst>
          </p:cNvPr>
          <p:cNvGrpSpPr/>
          <p:nvPr/>
        </p:nvGrpSpPr>
        <p:grpSpPr>
          <a:xfrm>
            <a:off x="5419614" y="2768266"/>
            <a:ext cx="867032" cy="501921"/>
            <a:chOff x="2632334" y="2018331"/>
            <a:chExt cx="867032" cy="501921"/>
          </a:xfrm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EA6E20E4-B100-444B-96DC-5592F846C89F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87AF597D-A5FE-4A8E-9D03-5B6C81845366}"/>
                </a:ext>
              </a:extLst>
            </p:cNvPr>
            <p:cNvSpPr txBox="1"/>
            <p:nvPr/>
          </p:nvSpPr>
          <p:spPr>
            <a:xfrm>
              <a:off x="2734672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A3C6E97B-A6A5-47A5-BB7E-7626DFB9C77C}"/>
              </a:ext>
            </a:extLst>
          </p:cNvPr>
          <p:cNvSpPr/>
          <p:nvPr/>
        </p:nvSpPr>
        <p:spPr>
          <a:xfrm>
            <a:off x="5003592" y="3756455"/>
            <a:ext cx="1661856" cy="1151645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BF15EF83-9044-4620-9A66-A8E977A04FC6}"/>
              </a:ext>
            </a:extLst>
          </p:cNvPr>
          <p:cNvGrpSpPr/>
          <p:nvPr/>
        </p:nvGrpSpPr>
        <p:grpSpPr>
          <a:xfrm>
            <a:off x="5380888" y="3518389"/>
            <a:ext cx="944490" cy="501921"/>
            <a:chOff x="2593608" y="2018331"/>
            <a:chExt cx="944490" cy="501921"/>
          </a:xfrm>
        </p:grpSpPr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BC2D8026-C31B-4508-95F2-2B21645DE6EB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C069188F-6398-4CAE-A7D8-E6497DA26D89}"/>
                </a:ext>
              </a:extLst>
            </p:cNvPr>
            <p:cNvSpPr txBox="1"/>
            <p:nvPr/>
          </p:nvSpPr>
          <p:spPr>
            <a:xfrm>
              <a:off x="2593608" y="2139728"/>
              <a:ext cx="94449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 err="1">
                  <a:solidFill>
                    <a:schemeClr val="bg1"/>
                  </a:solidFill>
                </a:rPr>
                <a:t>FacilityPar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9A52B82-04E0-417D-8061-C052112563B8}"/>
              </a:ext>
            </a:extLst>
          </p:cNvPr>
          <p:cNvGrpSpPr/>
          <p:nvPr/>
        </p:nvGrpSpPr>
        <p:grpSpPr>
          <a:xfrm>
            <a:off x="10267233" y="5508678"/>
            <a:ext cx="867032" cy="501921"/>
            <a:chOff x="8144873" y="2723071"/>
            <a:chExt cx="867032" cy="501921"/>
          </a:xfrm>
        </p:grpSpPr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C98B1D74-95B0-4D0E-B617-AEA1A3144425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75D210FA-7C54-4055-A0A7-96FF623FF71F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C2530312-EE3C-406F-ABA0-2716E4DF9852}"/>
              </a:ext>
            </a:extLst>
          </p:cNvPr>
          <p:cNvGrpSpPr/>
          <p:nvPr/>
        </p:nvGrpSpPr>
        <p:grpSpPr>
          <a:xfrm>
            <a:off x="5419614" y="4223043"/>
            <a:ext cx="867032" cy="501921"/>
            <a:chOff x="2632334" y="2018331"/>
            <a:chExt cx="867032" cy="501921"/>
          </a:xfrm>
        </p:grpSpPr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7BFF8635-579D-4159-B454-B87D8A824AD9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32AA25BC-054B-4879-874B-16420C296CA6}"/>
                </a:ext>
              </a:extLst>
            </p:cNvPr>
            <p:cNvSpPr txBox="1"/>
            <p:nvPr/>
          </p:nvSpPr>
          <p:spPr>
            <a:xfrm>
              <a:off x="2756311" y="2130301"/>
              <a:ext cx="6190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pace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70C089F6-E737-4CDC-9883-18F8760F95A8}"/>
              </a:ext>
            </a:extLst>
          </p:cNvPr>
          <p:cNvGrpSpPr/>
          <p:nvPr/>
        </p:nvGrpSpPr>
        <p:grpSpPr>
          <a:xfrm>
            <a:off x="5419614" y="1139284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219E17A7-ACF4-42FD-A493-9D8D4A9A4D61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1FA2CB8A-A0B6-4498-9826-B032B054AE1B}"/>
                </a:ext>
              </a:extLst>
            </p:cNvPr>
            <p:cNvSpPr txBox="1"/>
            <p:nvPr/>
          </p:nvSpPr>
          <p:spPr>
            <a:xfrm>
              <a:off x="3012089" y="1373641"/>
              <a:ext cx="6960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ubject</a:t>
              </a: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74E00DBA-8418-4032-BA6C-23E719F94182}"/>
              </a:ext>
            </a:extLst>
          </p:cNvPr>
          <p:cNvGrpSpPr/>
          <p:nvPr/>
        </p:nvGrpSpPr>
        <p:grpSpPr>
          <a:xfrm>
            <a:off x="8103958" y="5456517"/>
            <a:ext cx="1049665" cy="607647"/>
            <a:chOff x="2410853" y="3441340"/>
            <a:chExt cx="953829" cy="552168"/>
          </a:xfrm>
        </p:grpSpPr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00857AF0-19AE-410F-AE9F-6F369F32181F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4BDD1E60-DD14-4B9F-BCA6-DC8197E17DAC}"/>
                </a:ext>
              </a:extLst>
            </p:cNvPr>
            <p:cNvSpPr txBox="1"/>
            <p:nvPr/>
          </p:nvSpPr>
          <p:spPr>
            <a:xfrm>
              <a:off x="2544583" y="3524565"/>
              <a:ext cx="686372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hysic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Element</a:t>
              </a: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A52C2488-C8EE-4CA0-B598-240EAE9FF8D3}"/>
              </a:ext>
            </a:extLst>
          </p:cNvPr>
          <p:cNvGrpSpPr/>
          <p:nvPr/>
        </p:nvGrpSpPr>
        <p:grpSpPr>
          <a:xfrm>
            <a:off x="5068509" y="5329302"/>
            <a:ext cx="1569243" cy="862077"/>
            <a:chOff x="2300259" y="1850812"/>
            <a:chExt cx="1569243" cy="862077"/>
          </a:xfrm>
        </p:grpSpPr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9E29B607-D4A6-47E6-B08B-E91775B7D796}"/>
                </a:ext>
              </a:extLst>
            </p:cNvPr>
            <p:cNvSpPr/>
            <p:nvPr/>
          </p:nvSpPr>
          <p:spPr>
            <a:xfrm rot="12600000" flipV="1">
              <a:off x="2328426" y="1850812"/>
              <a:ext cx="1541076" cy="862077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A6DD9A7-0BD0-4ACD-8D18-E69C51908F7A}"/>
                </a:ext>
              </a:extLst>
            </p:cNvPr>
            <p:cNvSpPr txBox="1"/>
            <p:nvPr/>
          </p:nvSpPr>
          <p:spPr>
            <a:xfrm>
              <a:off x="2300259" y="2130301"/>
              <a:ext cx="153118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 err="1">
                  <a:solidFill>
                    <a:schemeClr val="bg1"/>
                  </a:solidFill>
                </a:rPr>
                <a:t>CompositeElemen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53" name="TextBox 152">
            <a:extLst>
              <a:ext uri="{FF2B5EF4-FFF2-40B4-BE49-F238E27FC236}">
                <a16:creationId xmlns:a16="http://schemas.microsoft.com/office/drawing/2014/main" id="{B24A0A11-6948-4BCD-A8EB-722CB4D61B88}"/>
              </a:ext>
            </a:extLst>
          </p:cNvPr>
          <p:cNvSpPr txBox="1"/>
          <p:nvPr/>
        </p:nvSpPr>
        <p:spPr>
          <a:xfrm>
            <a:off x="6657724" y="5498965"/>
            <a:ext cx="137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overlaps </a:t>
            </a:r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5DD763CD-EA1E-47D0-AED7-371CF3DFD81F}"/>
              </a:ext>
            </a:extLst>
          </p:cNvPr>
          <p:cNvCxnSpPr>
            <a:cxnSpLocks/>
            <a:stCxn id="151" idx="6"/>
            <a:endCxn id="132" idx="0"/>
          </p:cNvCxnSpPr>
          <p:nvPr/>
        </p:nvCxnSpPr>
        <p:spPr>
          <a:xfrm flipV="1">
            <a:off x="6750039" y="5759639"/>
            <a:ext cx="1273132" cy="12680"/>
          </a:xfrm>
          <a:prstGeom prst="straightConnector1">
            <a:avLst/>
          </a:prstGeom>
          <a:ln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:a16="http://schemas.microsoft.com/office/drawing/2014/main" id="{0590F153-3779-47DD-9948-905169FCD79E}"/>
              </a:ext>
            </a:extLst>
          </p:cNvPr>
          <p:cNvSpPr txBox="1"/>
          <p:nvPr/>
        </p:nvSpPr>
        <p:spPr>
          <a:xfrm>
            <a:off x="9149375" y="5595290"/>
            <a:ext cx="7738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can be 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47802FDD-1085-4B3C-9A6A-A7A438CCE67E}"/>
              </a:ext>
            </a:extLst>
          </p:cNvPr>
          <p:cNvSpPr txBox="1"/>
          <p:nvPr/>
        </p:nvSpPr>
        <p:spPr>
          <a:xfrm>
            <a:off x="4397090" y="671312"/>
            <a:ext cx="28740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Spatial Structure Hierarchy</a:t>
            </a:r>
          </a:p>
        </p:txBody>
      </p: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69CA9469-8603-415A-B828-8A3800886D3B}"/>
              </a:ext>
            </a:extLst>
          </p:cNvPr>
          <p:cNvGrpSpPr/>
          <p:nvPr/>
        </p:nvGrpSpPr>
        <p:grpSpPr>
          <a:xfrm>
            <a:off x="10681332" y="5824954"/>
            <a:ext cx="1074668" cy="607647"/>
            <a:chOff x="2399494" y="3441340"/>
            <a:chExt cx="976549" cy="552168"/>
          </a:xfrm>
          <a:solidFill>
            <a:srgbClr val="C00000"/>
          </a:solidFill>
        </p:grpSpPr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595B173D-9067-499F-8FD0-053689312181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DDB2B069-E17E-4275-912D-5F803D6D6D50}"/>
                </a:ext>
              </a:extLst>
            </p:cNvPr>
            <p:cNvSpPr txBox="1"/>
            <p:nvPr/>
          </p:nvSpPr>
          <p:spPr>
            <a:xfrm>
              <a:off x="2399494" y="3498866"/>
              <a:ext cx="9765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613E1255-E8E7-4AB8-8834-915CE63AEC1C}"/>
              </a:ext>
            </a:extLst>
          </p:cNvPr>
          <p:cNvGrpSpPr/>
          <p:nvPr/>
        </p:nvGrpSpPr>
        <p:grpSpPr>
          <a:xfrm>
            <a:off x="10027580" y="6193285"/>
            <a:ext cx="1049665" cy="607647"/>
            <a:chOff x="2410853" y="3441340"/>
            <a:chExt cx="953829" cy="552168"/>
          </a:xfrm>
        </p:grpSpPr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6F016B8-0E37-4F0F-8D8A-4159E052000E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9AA592EB-611A-4F3F-9330-8E3304299826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pic>
        <p:nvPicPr>
          <p:cNvPr id="187" name="Picture 186">
            <a:extLst>
              <a:ext uri="{FF2B5EF4-FFF2-40B4-BE49-F238E27FC236}">
                <a16:creationId xmlns:a16="http://schemas.microsoft.com/office/drawing/2014/main" id="{92C37B3E-D712-4C26-BC92-918BE03B03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82066" y="3288136"/>
            <a:ext cx="2170224" cy="6930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8" name="TextBox 187">
            <a:extLst>
              <a:ext uri="{FF2B5EF4-FFF2-40B4-BE49-F238E27FC236}">
                <a16:creationId xmlns:a16="http://schemas.microsoft.com/office/drawing/2014/main" id="{B7C336DA-7CCF-4B41-9474-CF4855EAEC6D}"/>
              </a:ext>
            </a:extLst>
          </p:cNvPr>
          <p:cNvSpPr txBox="1"/>
          <p:nvPr/>
        </p:nvSpPr>
        <p:spPr>
          <a:xfrm>
            <a:off x="9746955" y="2933411"/>
            <a:ext cx="20046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IFC </a:t>
            </a:r>
            <a:r>
              <a:rPr lang="en-US" sz="1400" dirty="0" err="1"/>
              <a:t>CompositionType</a:t>
            </a:r>
            <a:endParaRPr lang="en-US" sz="1400" dirty="0"/>
          </a:p>
        </p:txBody>
      </p:sp>
      <p:sp>
        <p:nvSpPr>
          <p:cNvPr id="189" name="Speech Bubble: Rectangle with Corners Rounded 188">
            <a:extLst>
              <a:ext uri="{FF2B5EF4-FFF2-40B4-BE49-F238E27FC236}">
                <a16:creationId xmlns:a16="http://schemas.microsoft.com/office/drawing/2014/main" id="{348B2574-7CEF-4B92-8BF5-38AEB17C4613}"/>
              </a:ext>
            </a:extLst>
          </p:cNvPr>
          <p:cNvSpPr/>
          <p:nvPr/>
        </p:nvSpPr>
        <p:spPr>
          <a:xfrm>
            <a:off x="8968929" y="4106793"/>
            <a:ext cx="3058314" cy="855457"/>
          </a:xfrm>
          <a:prstGeom prst="wedgeRoundRectCallout">
            <a:avLst>
              <a:gd name="adj1" fmla="val 5291"/>
              <a:gd name="adj2" fmla="val -79545"/>
              <a:gd name="adj3" fmla="val 16667"/>
            </a:avLst>
          </a:prstGeom>
          <a:solidFill>
            <a:srgbClr val="FFC00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2"/>
                </a:solidFill>
              </a:rPr>
              <a:t>Should we sub-class where IFC use </a:t>
            </a:r>
            <a:r>
              <a:rPr lang="en-US" sz="1050" dirty="0" err="1">
                <a:solidFill>
                  <a:schemeClr val="tx2"/>
                </a:solidFill>
              </a:rPr>
              <a:t>CompositionType</a:t>
            </a:r>
            <a:r>
              <a:rPr lang="en-US" sz="1050" dirty="0">
                <a:solidFill>
                  <a:schemeClr val="tx2"/>
                </a:solidFill>
              </a:rPr>
              <a:t> </a:t>
            </a:r>
            <a:r>
              <a:rPr lang="en-US" sz="1050" dirty="0" err="1">
                <a:solidFill>
                  <a:schemeClr val="tx2"/>
                </a:solidFill>
              </a:rPr>
              <a:t>enum</a:t>
            </a:r>
            <a:r>
              <a:rPr lang="en-US" sz="1050" dirty="0">
                <a:solidFill>
                  <a:schemeClr val="tx2"/>
                </a:solidFill>
              </a:rPr>
              <a:t>?</a:t>
            </a:r>
          </a:p>
          <a:p>
            <a:pPr algn="ctr"/>
            <a:r>
              <a:rPr lang="en-US" sz="1050" i="1" dirty="0">
                <a:solidFill>
                  <a:schemeClr val="tx2"/>
                </a:solidFill>
              </a:rPr>
              <a:t>Jonas: (infer from composes relationships.)</a:t>
            </a:r>
          </a:p>
          <a:p>
            <a:pPr algn="ctr"/>
            <a:r>
              <a:rPr lang="en-US" sz="1050" i="1" dirty="0">
                <a:solidFill>
                  <a:schemeClr val="tx2"/>
                </a:solidFill>
              </a:rPr>
              <a:t>Glen: with one parent-child, is it complex-element or element-section?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004D65D-196B-4F43-84BA-620E9F9B9044}"/>
              </a:ext>
            </a:extLst>
          </p:cNvPr>
          <p:cNvGrpSpPr/>
          <p:nvPr/>
        </p:nvGrpSpPr>
        <p:grpSpPr>
          <a:xfrm>
            <a:off x="9695418" y="5215951"/>
            <a:ext cx="867032" cy="501921"/>
            <a:chOff x="8144873" y="2723071"/>
            <a:chExt cx="867032" cy="501921"/>
          </a:xfrm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890D46F9-06E6-4CB6-9BDA-4FFA987C0608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55203BB-EF43-4082-837F-FDF5CBBE9BBA}"/>
                </a:ext>
              </a:extLst>
            </p:cNvPr>
            <p:cNvSpPr txBox="1"/>
            <p:nvPr/>
          </p:nvSpPr>
          <p:spPr>
            <a:xfrm>
              <a:off x="8155893" y="2831501"/>
              <a:ext cx="8499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Assembly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EE1A602D-36FB-4173-B5F9-4C76CEA63C88}"/>
              </a:ext>
            </a:extLst>
          </p:cNvPr>
          <p:cNvGrpSpPr/>
          <p:nvPr/>
        </p:nvGrpSpPr>
        <p:grpSpPr>
          <a:xfrm>
            <a:off x="9706438" y="5799215"/>
            <a:ext cx="867032" cy="501921"/>
            <a:chOff x="8144873" y="2723071"/>
            <a:chExt cx="867032" cy="501921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32A7A8A-227F-4716-9189-7F4EB3050BB4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61F93FCB-6F0A-4EE0-9C13-3E167A0023AE}"/>
                </a:ext>
              </a:extLst>
            </p:cNvPr>
            <p:cNvSpPr txBox="1"/>
            <p:nvPr/>
          </p:nvSpPr>
          <p:spPr>
            <a:xfrm>
              <a:off x="8224021" y="2831501"/>
              <a:ext cx="71365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roduct</a:t>
              </a: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C2C5EE11-1ED8-40E0-BBD0-9BF555D7AC7D}"/>
              </a:ext>
            </a:extLst>
          </p:cNvPr>
          <p:cNvSpPr/>
          <p:nvPr/>
        </p:nvSpPr>
        <p:spPr>
          <a:xfrm>
            <a:off x="4799318" y="2219783"/>
            <a:ext cx="2091676" cy="2813032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B1BB692C-19B2-45B4-9099-5E44FD69EE0F}"/>
              </a:ext>
            </a:extLst>
          </p:cNvPr>
          <p:cNvGrpSpPr/>
          <p:nvPr/>
        </p:nvGrpSpPr>
        <p:grpSpPr>
          <a:xfrm>
            <a:off x="5419614" y="1966221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83A3BF5-6F1B-45F7-A27C-0AE7A72AC23E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1AF00E9-1717-4848-A4E8-047B58FC0545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3E564346-4FD0-490A-A468-E6D64F4D44FA}"/>
              </a:ext>
            </a:extLst>
          </p:cNvPr>
          <p:cNvSpPr/>
          <p:nvPr/>
        </p:nvSpPr>
        <p:spPr>
          <a:xfrm>
            <a:off x="311162" y="1524185"/>
            <a:ext cx="3896966" cy="3622136"/>
          </a:xfrm>
          <a:prstGeom prst="roundRect">
            <a:avLst>
              <a:gd name="adj" fmla="val 12417"/>
            </a:avLst>
          </a:pr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4FD42371-1164-40E4-BB27-9A90FD528F76}"/>
              </a:ext>
            </a:extLst>
          </p:cNvPr>
          <p:cNvSpPr/>
          <p:nvPr/>
        </p:nvSpPr>
        <p:spPr>
          <a:xfrm>
            <a:off x="433713" y="2028503"/>
            <a:ext cx="3599974" cy="2954813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544C1C0F-D4B5-4F30-8C3C-7DF05A9CD14A}"/>
              </a:ext>
            </a:extLst>
          </p:cNvPr>
          <p:cNvSpPr/>
          <p:nvPr/>
        </p:nvSpPr>
        <p:spPr>
          <a:xfrm>
            <a:off x="555351" y="2967421"/>
            <a:ext cx="3303442" cy="181978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CB10E1E2-6375-44D4-9A07-9B2CBF993BDC}"/>
              </a:ext>
            </a:extLst>
          </p:cNvPr>
          <p:cNvSpPr/>
          <p:nvPr/>
        </p:nvSpPr>
        <p:spPr>
          <a:xfrm>
            <a:off x="664869" y="3753034"/>
            <a:ext cx="2973954" cy="896575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46EEEE3F-DEED-4AED-9211-2AD76BA9413C}"/>
              </a:ext>
            </a:extLst>
          </p:cNvPr>
          <p:cNvSpPr/>
          <p:nvPr/>
        </p:nvSpPr>
        <p:spPr>
          <a:xfrm>
            <a:off x="1143348" y="1274443"/>
            <a:ext cx="1060020" cy="438915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ject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5C3DE46B-0B13-4DC7-90DD-65A264448BFB}"/>
              </a:ext>
            </a:extLst>
          </p:cNvPr>
          <p:cNvSpPr/>
          <p:nvPr/>
        </p:nvSpPr>
        <p:spPr>
          <a:xfrm>
            <a:off x="1143348" y="2773203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acility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0CCF924F-9629-4553-A21D-4E4743041E29}"/>
              </a:ext>
            </a:extLst>
          </p:cNvPr>
          <p:cNvSpPr/>
          <p:nvPr/>
        </p:nvSpPr>
        <p:spPr>
          <a:xfrm>
            <a:off x="1143348" y="3506587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err="1"/>
              <a:t>FacilityPart</a:t>
            </a:r>
            <a:endParaRPr lang="en-US" sz="1400" dirty="0"/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8A53755D-F9EB-4E07-A4F0-9FC335D2CBFD}"/>
              </a:ext>
            </a:extLst>
          </p:cNvPr>
          <p:cNvSpPr/>
          <p:nvPr/>
        </p:nvSpPr>
        <p:spPr>
          <a:xfrm>
            <a:off x="1143348" y="1794486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it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C743118-2557-4BA7-A54F-833E96A2F1E2}"/>
              </a:ext>
            </a:extLst>
          </p:cNvPr>
          <p:cNvSpPr txBox="1"/>
          <p:nvPr/>
        </p:nvSpPr>
        <p:spPr>
          <a:xfrm>
            <a:off x="555351" y="858781"/>
            <a:ext cx="28740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Spatial Structure Hierarchy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50DD4320-6F40-460F-857F-D9F206295706}"/>
              </a:ext>
            </a:extLst>
          </p:cNvPr>
          <p:cNvSpPr/>
          <p:nvPr/>
        </p:nvSpPr>
        <p:spPr>
          <a:xfrm>
            <a:off x="2472448" y="3964475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5481C06B-928F-4BED-BD3C-619ABEA0C18D}"/>
              </a:ext>
            </a:extLst>
          </p:cNvPr>
          <p:cNvSpPr/>
          <p:nvPr/>
        </p:nvSpPr>
        <p:spPr>
          <a:xfrm>
            <a:off x="2472448" y="3126957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76D6BE9E-6629-457F-8975-4A82815D7A14}"/>
              </a:ext>
            </a:extLst>
          </p:cNvPr>
          <p:cNvSpPr/>
          <p:nvPr/>
        </p:nvSpPr>
        <p:spPr>
          <a:xfrm>
            <a:off x="2472448" y="2326188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</p:spTree>
    <p:extLst>
      <p:ext uri="{BB962C8B-B14F-4D97-AF65-F5344CB8AC3E}">
        <p14:creationId xmlns:p14="http://schemas.microsoft.com/office/powerpoint/2010/main" val="24006266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8" grpId="0"/>
      <p:bldP spid="189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Spatial/Physical Hierarchy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F58CFE6E-0C9D-4E8A-81CB-C4F4BF7649F1}"/>
              </a:ext>
            </a:extLst>
          </p:cNvPr>
          <p:cNvSpPr/>
          <p:nvPr/>
        </p:nvSpPr>
        <p:spPr>
          <a:xfrm>
            <a:off x="8521621" y="2031975"/>
            <a:ext cx="3599974" cy="4217738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70D0571-CA6C-4285-9978-A495A398B16D}"/>
              </a:ext>
            </a:extLst>
          </p:cNvPr>
          <p:cNvSpPr/>
          <p:nvPr/>
        </p:nvSpPr>
        <p:spPr>
          <a:xfrm>
            <a:off x="8631138" y="3011701"/>
            <a:ext cx="3306335" cy="289136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B352C25-FC12-436A-940A-B1ECAA45DB9B}"/>
              </a:ext>
            </a:extLst>
          </p:cNvPr>
          <p:cNvSpPr txBox="1"/>
          <p:nvPr/>
        </p:nvSpPr>
        <p:spPr>
          <a:xfrm>
            <a:off x="9441077" y="1599099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E34BE3D-DBFA-4A01-BD96-A8594D08B36E}"/>
              </a:ext>
            </a:extLst>
          </p:cNvPr>
          <p:cNvGrpSpPr/>
          <p:nvPr/>
        </p:nvGrpSpPr>
        <p:grpSpPr>
          <a:xfrm>
            <a:off x="9166220" y="2768266"/>
            <a:ext cx="867032" cy="501921"/>
            <a:chOff x="2632334" y="2018331"/>
            <a:chExt cx="867032" cy="501921"/>
          </a:xfrm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9131E13-8E6B-41FD-88EB-F89D236F62D0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33E087C7-1183-4874-A349-42EEAA34A567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03CB57C-C50B-4A32-8E70-C6B2937F9AEF}"/>
              </a:ext>
            </a:extLst>
          </p:cNvPr>
          <p:cNvGrpSpPr/>
          <p:nvPr/>
        </p:nvGrpSpPr>
        <p:grpSpPr>
          <a:xfrm>
            <a:off x="9166220" y="1778413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98658CA-291E-4941-A956-9E630D6D84C9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EC56F11-A87B-4CC2-AD4D-6D5AAD3C485D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087853AB-790D-4BF4-A6B3-37D946FDA213}"/>
              </a:ext>
            </a:extLst>
          </p:cNvPr>
          <p:cNvSpPr/>
          <p:nvPr/>
        </p:nvSpPr>
        <p:spPr>
          <a:xfrm>
            <a:off x="8751215" y="3756455"/>
            <a:ext cx="2960016" cy="199194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A5D0295-3E36-466B-B25F-D6BC305BE00D}"/>
              </a:ext>
            </a:extLst>
          </p:cNvPr>
          <p:cNvGrpSpPr/>
          <p:nvPr/>
        </p:nvGrpSpPr>
        <p:grpSpPr>
          <a:xfrm>
            <a:off x="9166220" y="3518389"/>
            <a:ext cx="867032" cy="507646"/>
            <a:chOff x="2632334" y="2018331"/>
            <a:chExt cx="867032" cy="507646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8639AF9-3B37-41AB-BBBD-0FF42E8BEA66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2378A79-09B7-40C3-BAD3-FF56C98BB66E}"/>
                </a:ext>
              </a:extLst>
            </p:cNvPr>
            <p:cNvSpPr txBox="1"/>
            <p:nvPr/>
          </p:nvSpPr>
          <p:spPr>
            <a:xfrm>
              <a:off x="2734670" y="2064312"/>
              <a:ext cx="66236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art</a:t>
              </a:r>
            </a:p>
          </p:txBody>
        </p:sp>
      </p:grp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D7FC7BC-7529-45A1-BA06-6CE401543296}"/>
              </a:ext>
            </a:extLst>
          </p:cNvPr>
          <p:cNvSpPr/>
          <p:nvPr/>
        </p:nvSpPr>
        <p:spPr>
          <a:xfrm>
            <a:off x="1161871" y="7012601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078B35B0-6BDD-43F7-B157-68EAD61468DE}"/>
              </a:ext>
            </a:extLst>
          </p:cNvPr>
          <p:cNvSpPr/>
          <p:nvPr/>
        </p:nvSpPr>
        <p:spPr>
          <a:xfrm>
            <a:off x="8911469" y="4395531"/>
            <a:ext cx="2667785" cy="1249301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0E60D90-2F24-448E-B4D1-F64934AEDE0C}"/>
              </a:ext>
            </a:extLst>
          </p:cNvPr>
          <p:cNvGrpSpPr/>
          <p:nvPr/>
        </p:nvGrpSpPr>
        <p:grpSpPr>
          <a:xfrm>
            <a:off x="9166220" y="4147699"/>
            <a:ext cx="867032" cy="501921"/>
            <a:chOff x="8144873" y="2723071"/>
            <a:chExt cx="867032" cy="501921"/>
          </a:xfrm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72C9168-11D8-45DA-A9E3-AC6F586DF392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B6B9E58-1448-476F-8AB1-22B9A13309E3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0684432-06D7-406F-A8C9-81176B34BE5F}"/>
              </a:ext>
            </a:extLst>
          </p:cNvPr>
          <p:cNvGrpSpPr/>
          <p:nvPr/>
        </p:nvGrpSpPr>
        <p:grpSpPr>
          <a:xfrm>
            <a:off x="9062402" y="4828936"/>
            <a:ext cx="1074668" cy="607647"/>
            <a:chOff x="2399494" y="3441340"/>
            <a:chExt cx="976549" cy="552168"/>
          </a:xfrm>
          <a:solidFill>
            <a:srgbClr val="C00000"/>
          </a:solidFill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6E771E8-37A2-4A89-BDDE-A13F41E1202D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864CF5E-B9E1-478A-9599-5B85086D50AF}"/>
                </a:ext>
              </a:extLst>
            </p:cNvPr>
            <p:cNvSpPr txBox="1"/>
            <p:nvPr/>
          </p:nvSpPr>
          <p:spPr>
            <a:xfrm>
              <a:off x="2399494" y="3498866"/>
              <a:ext cx="9765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D173835-D9F2-4F87-B767-107475B02FA5}"/>
              </a:ext>
            </a:extLst>
          </p:cNvPr>
          <p:cNvGrpSpPr/>
          <p:nvPr/>
        </p:nvGrpSpPr>
        <p:grpSpPr>
          <a:xfrm>
            <a:off x="10341023" y="4828936"/>
            <a:ext cx="1049665" cy="607647"/>
            <a:chOff x="2410853" y="3441340"/>
            <a:chExt cx="953829" cy="552168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9011727-99DD-4549-AFC3-1CC858DF95F1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5362726-B961-4E08-A70D-C381381A5269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5A94179-5431-4967-9FE9-19939FC84178}"/>
              </a:ext>
            </a:extLst>
          </p:cNvPr>
          <p:cNvGrpSpPr/>
          <p:nvPr/>
        </p:nvGrpSpPr>
        <p:grpSpPr>
          <a:xfrm>
            <a:off x="10321608" y="3825033"/>
            <a:ext cx="867032" cy="501921"/>
            <a:chOff x="2632334" y="2018331"/>
            <a:chExt cx="867032" cy="501921"/>
          </a:xfrm>
        </p:grpSpPr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18A058A-0D31-4847-96C9-6C4EF99763BE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11F0EB40-60BE-4618-9F28-489AD41E7FDD}"/>
                </a:ext>
              </a:extLst>
            </p:cNvPr>
            <p:cNvSpPr txBox="1"/>
            <p:nvPr/>
          </p:nvSpPr>
          <p:spPr>
            <a:xfrm>
              <a:off x="2713831" y="2130301"/>
              <a:ext cx="7040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pace?</a:t>
              </a:r>
            </a:p>
          </p:txBody>
        </p:sp>
      </p:grpSp>
      <p:sp>
        <p:nvSpPr>
          <p:cNvPr id="103" name="TextBox 102">
            <a:extLst>
              <a:ext uri="{FF2B5EF4-FFF2-40B4-BE49-F238E27FC236}">
                <a16:creationId xmlns:a16="http://schemas.microsoft.com/office/drawing/2014/main" id="{35B8DFFD-E25F-4E69-9130-6E1FD9D3B143}"/>
              </a:ext>
            </a:extLst>
          </p:cNvPr>
          <p:cNvSpPr txBox="1"/>
          <p:nvPr/>
        </p:nvSpPr>
        <p:spPr>
          <a:xfrm>
            <a:off x="9358691" y="710860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BIS (simplified)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94174104-8A27-4ABC-880C-473335BB30E9}"/>
              </a:ext>
            </a:extLst>
          </p:cNvPr>
          <p:cNvSpPr txBox="1"/>
          <p:nvPr/>
        </p:nvSpPr>
        <p:spPr>
          <a:xfrm>
            <a:off x="751687" y="737010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Siemens BT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F0F7C761-DBFD-4C19-B812-1EFD52BDA1FD}"/>
              </a:ext>
            </a:extLst>
          </p:cNvPr>
          <p:cNvSpPr/>
          <p:nvPr/>
        </p:nvSpPr>
        <p:spPr>
          <a:xfrm>
            <a:off x="4260918" y="1539614"/>
            <a:ext cx="3896966" cy="4804636"/>
          </a:xfrm>
          <a:prstGeom prst="roundRect">
            <a:avLst>
              <a:gd name="adj" fmla="val 12417"/>
            </a:avLst>
          </a:pr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9B91A79-F17F-4CC6-84C7-74DD35DA06AB}"/>
              </a:ext>
            </a:extLst>
          </p:cNvPr>
          <p:cNvSpPr/>
          <p:nvPr/>
        </p:nvSpPr>
        <p:spPr>
          <a:xfrm>
            <a:off x="4383469" y="2043933"/>
            <a:ext cx="3599974" cy="4135278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803B72D-9359-4AEA-AA16-740DABFD75E0}"/>
              </a:ext>
            </a:extLst>
          </p:cNvPr>
          <p:cNvSpPr/>
          <p:nvPr/>
        </p:nvSpPr>
        <p:spPr>
          <a:xfrm>
            <a:off x="4505107" y="2982850"/>
            <a:ext cx="3303442" cy="3023120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0CA37C85-F8A2-44C9-A222-CF75D661BF55}"/>
              </a:ext>
            </a:extLst>
          </p:cNvPr>
          <p:cNvSpPr/>
          <p:nvPr/>
        </p:nvSpPr>
        <p:spPr>
          <a:xfrm>
            <a:off x="4614625" y="3768464"/>
            <a:ext cx="2973954" cy="2096894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5232C2BA-7A98-498C-A7FC-AAE1C292CAEC}"/>
              </a:ext>
            </a:extLst>
          </p:cNvPr>
          <p:cNvSpPr/>
          <p:nvPr/>
        </p:nvSpPr>
        <p:spPr>
          <a:xfrm>
            <a:off x="5093104" y="1289873"/>
            <a:ext cx="1060020" cy="438915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ject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661F1C4C-D249-4719-96AF-69D975428010}"/>
              </a:ext>
            </a:extLst>
          </p:cNvPr>
          <p:cNvSpPr/>
          <p:nvPr/>
        </p:nvSpPr>
        <p:spPr>
          <a:xfrm>
            <a:off x="5093104" y="2788633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acility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32CDD8B2-EEE1-4791-A5AC-BD2F9C397517}"/>
              </a:ext>
            </a:extLst>
          </p:cNvPr>
          <p:cNvSpPr/>
          <p:nvPr/>
        </p:nvSpPr>
        <p:spPr>
          <a:xfrm>
            <a:off x="5093104" y="3522017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err="1"/>
              <a:t>FacilityPart</a:t>
            </a:r>
            <a:endParaRPr lang="en-US" sz="1400" dirty="0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92BF8CF2-E0EE-4003-A3E7-112DC93D2E2E}"/>
              </a:ext>
            </a:extLst>
          </p:cNvPr>
          <p:cNvSpPr/>
          <p:nvPr/>
        </p:nvSpPr>
        <p:spPr>
          <a:xfrm>
            <a:off x="5093104" y="1809916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ite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5BF81A85-C8F2-425D-995E-7F060203D785}"/>
              </a:ext>
            </a:extLst>
          </p:cNvPr>
          <p:cNvSpPr/>
          <p:nvPr/>
        </p:nvSpPr>
        <p:spPr>
          <a:xfrm>
            <a:off x="6322861" y="4164135"/>
            <a:ext cx="886848" cy="271188"/>
          </a:xfrm>
          <a:prstGeom prst="roundRect">
            <a:avLst/>
          </a:prstGeom>
          <a:solidFill>
            <a:srgbClr val="7F7F7F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ACF9438-DDDC-4FED-85A0-A1BABC936137}"/>
              </a:ext>
            </a:extLst>
          </p:cNvPr>
          <p:cNvGrpSpPr/>
          <p:nvPr/>
        </p:nvGrpSpPr>
        <p:grpSpPr>
          <a:xfrm>
            <a:off x="9166218" y="1139284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575B6A1F-ABB7-494B-B8CF-BA48DDC1D8AD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DA10CA0D-1290-4988-A794-BBF2E7619661}"/>
                </a:ext>
              </a:extLst>
            </p:cNvPr>
            <p:cNvSpPr txBox="1"/>
            <p:nvPr/>
          </p:nvSpPr>
          <p:spPr>
            <a:xfrm>
              <a:off x="3012089" y="1373641"/>
              <a:ext cx="6960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ubject</a:t>
              </a:r>
            </a:p>
          </p:txBody>
        </p: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A771BE95-B326-4B85-9322-B0D695F075EE}"/>
              </a:ext>
            </a:extLst>
          </p:cNvPr>
          <p:cNvSpPr txBox="1"/>
          <p:nvPr/>
        </p:nvSpPr>
        <p:spPr>
          <a:xfrm>
            <a:off x="4929627" y="796932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IFC</a:t>
            </a: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999642AA-7F15-4186-9A43-647544818BC5}"/>
              </a:ext>
            </a:extLst>
          </p:cNvPr>
          <p:cNvSpPr/>
          <p:nvPr/>
        </p:nvSpPr>
        <p:spPr>
          <a:xfrm>
            <a:off x="4793785" y="4526623"/>
            <a:ext cx="2694456" cy="126000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0942527D-7170-4E5E-9F67-99D155E35EA7}"/>
              </a:ext>
            </a:extLst>
          </p:cNvPr>
          <p:cNvSpPr/>
          <p:nvPr/>
        </p:nvSpPr>
        <p:spPr>
          <a:xfrm>
            <a:off x="5109953" y="4307166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43EB1D56-2A26-49DB-90FC-D88054E39B64}"/>
              </a:ext>
            </a:extLst>
          </p:cNvPr>
          <p:cNvSpPr/>
          <p:nvPr/>
        </p:nvSpPr>
        <p:spPr>
          <a:xfrm>
            <a:off x="4958540" y="5020619"/>
            <a:ext cx="1364321" cy="641381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B41CA356-392E-4107-AF53-69616CA49E3E}"/>
              </a:ext>
            </a:extLst>
          </p:cNvPr>
          <p:cNvSpPr/>
          <p:nvPr/>
        </p:nvSpPr>
        <p:spPr>
          <a:xfrm>
            <a:off x="5146920" y="4876578"/>
            <a:ext cx="1010306" cy="281103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ssembly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5F28F2A1-D29A-4012-A9F3-997A656FC327}"/>
              </a:ext>
            </a:extLst>
          </p:cNvPr>
          <p:cNvSpPr/>
          <p:nvPr/>
        </p:nvSpPr>
        <p:spPr>
          <a:xfrm>
            <a:off x="5154866" y="5286997"/>
            <a:ext cx="899909" cy="281102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F79FD306-DB6D-49D4-B442-22A883F67282}"/>
              </a:ext>
            </a:extLst>
          </p:cNvPr>
          <p:cNvSpPr/>
          <p:nvPr/>
        </p:nvSpPr>
        <p:spPr>
          <a:xfrm>
            <a:off x="6440176" y="4805215"/>
            <a:ext cx="886848" cy="271188"/>
          </a:xfrm>
          <a:prstGeom prst="roundRect">
            <a:avLst/>
          </a:prstGeom>
          <a:solidFill>
            <a:srgbClr val="7F7F7F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2CC36D0D-DA96-4014-BAE3-207316B4D01F}"/>
              </a:ext>
            </a:extLst>
          </p:cNvPr>
          <p:cNvSpPr/>
          <p:nvPr/>
        </p:nvSpPr>
        <p:spPr>
          <a:xfrm>
            <a:off x="6273201" y="3840887"/>
            <a:ext cx="1010306" cy="281103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ssembl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213E80-FC72-43C8-9440-7C084EC83EA6}"/>
              </a:ext>
            </a:extLst>
          </p:cNvPr>
          <p:cNvSpPr/>
          <p:nvPr/>
        </p:nvSpPr>
        <p:spPr>
          <a:xfrm>
            <a:off x="9951009" y="4573275"/>
            <a:ext cx="928026" cy="2470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ssembly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3FEC18A2-CA51-456E-A213-15E5E0B852F9}"/>
              </a:ext>
            </a:extLst>
          </p:cNvPr>
          <p:cNvSpPr/>
          <p:nvPr/>
        </p:nvSpPr>
        <p:spPr>
          <a:xfrm>
            <a:off x="6425420" y="3142387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717E7784-986F-45D6-8A75-35330343C58C}"/>
              </a:ext>
            </a:extLst>
          </p:cNvPr>
          <p:cNvSpPr/>
          <p:nvPr/>
        </p:nvSpPr>
        <p:spPr>
          <a:xfrm>
            <a:off x="6425420" y="2341618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EE185286-6008-48FC-AE08-19176A117885}"/>
              </a:ext>
            </a:extLst>
          </p:cNvPr>
          <p:cNvSpPr/>
          <p:nvPr/>
        </p:nvSpPr>
        <p:spPr>
          <a:xfrm>
            <a:off x="7398724" y="3639251"/>
            <a:ext cx="819751" cy="267781"/>
          </a:xfrm>
          <a:prstGeom prst="roundRect">
            <a:avLst/>
          </a:prstGeom>
          <a:solidFill>
            <a:srgbClr val="FB7405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3E9E2C74-32DB-4E53-8B81-2B0FAB95E8C7}"/>
              </a:ext>
            </a:extLst>
          </p:cNvPr>
          <p:cNvSpPr/>
          <p:nvPr/>
        </p:nvSpPr>
        <p:spPr>
          <a:xfrm>
            <a:off x="254527" y="2043933"/>
            <a:ext cx="3599974" cy="4033045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A1DD08E8-A1D4-4D44-B000-8878BE0CAB35}"/>
              </a:ext>
            </a:extLst>
          </p:cNvPr>
          <p:cNvSpPr/>
          <p:nvPr/>
        </p:nvSpPr>
        <p:spPr>
          <a:xfrm>
            <a:off x="376165" y="3020559"/>
            <a:ext cx="3303442" cy="288250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579592D6-BDCD-4B28-8571-A61C89EE9266}"/>
              </a:ext>
            </a:extLst>
          </p:cNvPr>
          <p:cNvSpPr/>
          <p:nvPr/>
        </p:nvSpPr>
        <p:spPr>
          <a:xfrm>
            <a:off x="485683" y="3948867"/>
            <a:ext cx="2644018" cy="1816087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205DC94F-BC00-4783-B13C-ED9118D29352}"/>
              </a:ext>
            </a:extLst>
          </p:cNvPr>
          <p:cNvSpPr/>
          <p:nvPr/>
        </p:nvSpPr>
        <p:spPr>
          <a:xfrm>
            <a:off x="964162" y="1809916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ite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FC3CFD44-AB8C-4F1D-ADDA-47284B71E284}"/>
              </a:ext>
            </a:extLst>
          </p:cNvPr>
          <p:cNvSpPr/>
          <p:nvPr/>
        </p:nvSpPr>
        <p:spPr>
          <a:xfrm>
            <a:off x="751687" y="2826343"/>
            <a:ext cx="2511098" cy="302248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ampus/</a:t>
            </a:r>
            <a:r>
              <a:rPr lang="en-US" sz="1200" dirty="0" err="1"/>
              <a:t>CampusSegment</a:t>
            </a:r>
            <a:r>
              <a:rPr lang="en-US" sz="1200" dirty="0"/>
              <a:t>/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31542D83-FE51-4518-861F-35A3CA564C34}"/>
              </a:ext>
            </a:extLst>
          </p:cNvPr>
          <p:cNvSpPr/>
          <p:nvPr/>
        </p:nvSpPr>
        <p:spPr>
          <a:xfrm>
            <a:off x="964162" y="3729410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loor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D01CE960-2269-42E4-A4B5-F2EEFF60931C}"/>
              </a:ext>
            </a:extLst>
          </p:cNvPr>
          <p:cNvSpPr/>
          <p:nvPr/>
        </p:nvSpPr>
        <p:spPr>
          <a:xfrm>
            <a:off x="647994" y="4509780"/>
            <a:ext cx="2308535" cy="1176960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73DA25A1-BD92-4449-B4B5-48B938E7427A}"/>
              </a:ext>
            </a:extLst>
          </p:cNvPr>
          <p:cNvSpPr/>
          <p:nvPr/>
        </p:nvSpPr>
        <p:spPr>
          <a:xfrm>
            <a:off x="1075614" y="5075739"/>
            <a:ext cx="837116" cy="261323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sset</a:t>
            </a: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A70B6E1A-ADED-468B-87B1-05E34F853EAB}"/>
              </a:ext>
            </a:extLst>
          </p:cNvPr>
          <p:cNvSpPr/>
          <p:nvPr/>
        </p:nvSpPr>
        <p:spPr>
          <a:xfrm>
            <a:off x="1056877" y="4368449"/>
            <a:ext cx="1365812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/Room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0429F295-3E4E-40A4-A8B0-3D89641A17AA}"/>
              </a:ext>
            </a:extLst>
          </p:cNvPr>
          <p:cNvSpPr/>
          <p:nvPr/>
        </p:nvSpPr>
        <p:spPr>
          <a:xfrm>
            <a:off x="2749289" y="2400902"/>
            <a:ext cx="916224" cy="299463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Outside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33CF1E86-E759-40C4-BACB-46D8160981D5}"/>
              </a:ext>
            </a:extLst>
          </p:cNvPr>
          <p:cNvSpPr/>
          <p:nvPr/>
        </p:nvSpPr>
        <p:spPr>
          <a:xfrm>
            <a:off x="434109" y="3476008"/>
            <a:ext cx="3003570" cy="2361374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E8DDDFA5-1A71-406F-8EE9-F60893486D3E}"/>
              </a:ext>
            </a:extLst>
          </p:cNvPr>
          <p:cNvSpPr/>
          <p:nvPr/>
        </p:nvSpPr>
        <p:spPr>
          <a:xfrm>
            <a:off x="751687" y="3281792"/>
            <a:ext cx="2511098" cy="302248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Building/</a:t>
            </a:r>
            <a:r>
              <a:rPr lang="en-US" sz="1200" dirty="0" err="1"/>
              <a:t>BuildingSegment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160454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47" grpId="0" animBg="1"/>
      <p:bldP spid="143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7744"/>
            <a:ext cx="11173968" cy="261322"/>
          </a:xfrm>
        </p:spPr>
        <p:txBody>
          <a:bodyPr wrap="none">
            <a:normAutofit fontScale="90000"/>
          </a:bodyPr>
          <a:lstStyle/>
          <a:p>
            <a:r>
              <a:rPr lang="en-US" dirty="0"/>
              <a:t>Physical Hierarchy Stereotypes</a:t>
            </a: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F58CFE6E-0C9D-4E8A-81CB-C4F4BF7649F1}"/>
              </a:ext>
            </a:extLst>
          </p:cNvPr>
          <p:cNvSpPr/>
          <p:nvPr/>
        </p:nvSpPr>
        <p:spPr>
          <a:xfrm>
            <a:off x="8521621" y="2031975"/>
            <a:ext cx="3599974" cy="4217738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70D0571-CA6C-4285-9978-A495A398B16D}"/>
              </a:ext>
            </a:extLst>
          </p:cNvPr>
          <p:cNvSpPr/>
          <p:nvPr/>
        </p:nvSpPr>
        <p:spPr>
          <a:xfrm>
            <a:off x="8631138" y="3011701"/>
            <a:ext cx="3306335" cy="289136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B352C25-FC12-436A-940A-B1ECAA45DB9B}"/>
              </a:ext>
            </a:extLst>
          </p:cNvPr>
          <p:cNvSpPr txBox="1"/>
          <p:nvPr/>
        </p:nvSpPr>
        <p:spPr>
          <a:xfrm>
            <a:off x="9441077" y="1599099"/>
            <a:ext cx="3173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E34BE3D-DBFA-4A01-BD96-A8594D08B36E}"/>
              </a:ext>
            </a:extLst>
          </p:cNvPr>
          <p:cNvGrpSpPr/>
          <p:nvPr/>
        </p:nvGrpSpPr>
        <p:grpSpPr>
          <a:xfrm>
            <a:off x="9166220" y="2768266"/>
            <a:ext cx="867032" cy="501921"/>
            <a:chOff x="2632334" y="2018331"/>
            <a:chExt cx="867032" cy="501921"/>
          </a:xfrm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9131E13-8E6B-41FD-88EB-F89D236F62D0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33E087C7-1183-4874-A349-42EEAA34A567}"/>
                </a:ext>
              </a:extLst>
            </p:cNvPr>
            <p:cNvSpPr txBox="1"/>
            <p:nvPr/>
          </p:nvSpPr>
          <p:spPr>
            <a:xfrm>
              <a:off x="2734670" y="2130301"/>
              <a:ext cx="662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03CB57C-C50B-4A32-8E70-C6B2937F9AEF}"/>
              </a:ext>
            </a:extLst>
          </p:cNvPr>
          <p:cNvGrpSpPr/>
          <p:nvPr/>
        </p:nvGrpSpPr>
        <p:grpSpPr>
          <a:xfrm>
            <a:off x="9166220" y="1778413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98658CA-291E-4941-A956-9E630D6D84C9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EC56F11-A87B-4CC2-AD4D-6D5AAD3C485D}"/>
                </a:ext>
              </a:extLst>
            </p:cNvPr>
            <p:cNvSpPr txBox="1"/>
            <p:nvPr/>
          </p:nvSpPr>
          <p:spPr>
            <a:xfrm>
              <a:off x="3135519" y="1373641"/>
              <a:ext cx="449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ite</a:t>
              </a:r>
            </a:p>
          </p:txBody>
        </p:sp>
      </p:grp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087853AB-790D-4BF4-A6B3-37D946FDA213}"/>
              </a:ext>
            </a:extLst>
          </p:cNvPr>
          <p:cNvSpPr/>
          <p:nvPr/>
        </p:nvSpPr>
        <p:spPr>
          <a:xfrm>
            <a:off x="8751215" y="3756455"/>
            <a:ext cx="2960016" cy="199194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A5D0295-3E36-466B-B25F-D6BC305BE00D}"/>
              </a:ext>
            </a:extLst>
          </p:cNvPr>
          <p:cNvGrpSpPr/>
          <p:nvPr/>
        </p:nvGrpSpPr>
        <p:grpSpPr>
          <a:xfrm>
            <a:off x="9166220" y="3518389"/>
            <a:ext cx="867032" cy="507646"/>
            <a:chOff x="2632334" y="2018331"/>
            <a:chExt cx="867032" cy="507646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8639AF9-3B37-41AB-BBBD-0FF42E8BEA66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2378A79-09B7-40C3-BAD3-FF56C98BB66E}"/>
                </a:ext>
              </a:extLst>
            </p:cNvPr>
            <p:cNvSpPr txBox="1"/>
            <p:nvPr/>
          </p:nvSpPr>
          <p:spPr>
            <a:xfrm>
              <a:off x="2734670" y="2064312"/>
              <a:ext cx="66236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acility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art</a:t>
              </a:r>
            </a:p>
          </p:txBody>
        </p:sp>
      </p:grp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1EB7FD00-3BE5-44A2-B044-EEFDFDFF9B5A}"/>
              </a:ext>
            </a:extLst>
          </p:cNvPr>
          <p:cNvSpPr/>
          <p:nvPr/>
        </p:nvSpPr>
        <p:spPr>
          <a:xfrm>
            <a:off x="254527" y="2043933"/>
            <a:ext cx="3599974" cy="4033045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A26EE902-441C-4019-B1AF-EB0A61448CD2}"/>
              </a:ext>
            </a:extLst>
          </p:cNvPr>
          <p:cNvSpPr/>
          <p:nvPr/>
        </p:nvSpPr>
        <p:spPr>
          <a:xfrm>
            <a:off x="376165" y="3020559"/>
            <a:ext cx="3303442" cy="2882508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4CA37507-E441-4031-9858-B21B94E29EBC}"/>
              </a:ext>
            </a:extLst>
          </p:cNvPr>
          <p:cNvSpPr/>
          <p:nvPr/>
        </p:nvSpPr>
        <p:spPr>
          <a:xfrm>
            <a:off x="485683" y="3948867"/>
            <a:ext cx="2644018" cy="1816087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CA62EA8B-CFA0-49F7-ACF4-DFA1956DEDAA}"/>
              </a:ext>
            </a:extLst>
          </p:cNvPr>
          <p:cNvSpPr/>
          <p:nvPr/>
        </p:nvSpPr>
        <p:spPr>
          <a:xfrm>
            <a:off x="964162" y="1809916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lex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366EE56A-B630-4A75-9228-E907462E8F47}"/>
              </a:ext>
            </a:extLst>
          </p:cNvPr>
          <p:cNvSpPr/>
          <p:nvPr/>
        </p:nvSpPr>
        <p:spPr>
          <a:xfrm>
            <a:off x="964162" y="2826342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ntity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251A06B5-C57D-4FDB-9E27-34DA1196090A}"/>
              </a:ext>
            </a:extLst>
          </p:cNvPr>
          <p:cNvSpPr/>
          <p:nvPr/>
        </p:nvSpPr>
        <p:spPr>
          <a:xfrm>
            <a:off x="964162" y="3729410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7699435E-933F-42C0-90E1-30F273AA60A4}"/>
              </a:ext>
            </a:extLst>
          </p:cNvPr>
          <p:cNvSpPr/>
          <p:nvPr/>
        </p:nvSpPr>
        <p:spPr>
          <a:xfrm>
            <a:off x="2413408" y="3272814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0569D9E0-4BD8-43A9-B1E3-A9AAF7473D5A}"/>
              </a:ext>
            </a:extLst>
          </p:cNvPr>
          <p:cNvSpPr/>
          <p:nvPr/>
        </p:nvSpPr>
        <p:spPr>
          <a:xfrm>
            <a:off x="647994" y="4509780"/>
            <a:ext cx="2308535" cy="1176960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EA670A2C-B024-4218-859D-629AB5CD8B4A}"/>
              </a:ext>
            </a:extLst>
          </p:cNvPr>
          <p:cNvSpPr/>
          <p:nvPr/>
        </p:nvSpPr>
        <p:spPr>
          <a:xfrm>
            <a:off x="964162" y="4290323"/>
            <a:ext cx="1060020" cy="438915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ystem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D7FC7BC-7529-45A1-BA06-6CE401543296}"/>
              </a:ext>
            </a:extLst>
          </p:cNvPr>
          <p:cNvSpPr/>
          <p:nvPr/>
        </p:nvSpPr>
        <p:spPr>
          <a:xfrm>
            <a:off x="964162" y="4991002"/>
            <a:ext cx="1060020" cy="438915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duct</a:t>
            </a:r>
          </a:p>
        </p:txBody>
      </p: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078B35B0-6BDD-43F7-B157-68EAD61468DE}"/>
              </a:ext>
            </a:extLst>
          </p:cNvPr>
          <p:cNvSpPr/>
          <p:nvPr/>
        </p:nvSpPr>
        <p:spPr>
          <a:xfrm>
            <a:off x="8911469" y="4395531"/>
            <a:ext cx="2667785" cy="1249301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200"/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0E60D90-2F24-448E-B4D1-F64934AEDE0C}"/>
              </a:ext>
            </a:extLst>
          </p:cNvPr>
          <p:cNvGrpSpPr/>
          <p:nvPr/>
        </p:nvGrpSpPr>
        <p:grpSpPr>
          <a:xfrm>
            <a:off x="9166220" y="4147699"/>
            <a:ext cx="867032" cy="501921"/>
            <a:chOff x="8144873" y="2723071"/>
            <a:chExt cx="867032" cy="501921"/>
          </a:xfrm>
        </p:grpSpPr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72C9168-11D8-45DA-A9E3-AC6F586DF392}"/>
                </a:ext>
              </a:extLst>
            </p:cNvPr>
            <p:cNvSpPr/>
            <p:nvPr/>
          </p:nvSpPr>
          <p:spPr>
            <a:xfrm rot="12600000" flipV="1">
              <a:off x="8144873" y="272307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B6B9E58-1448-476F-8AB1-22B9A13309E3}"/>
                </a:ext>
              </a:extLst>
            </p:cNvPr>
            <p:cNvSpPr txBox="1"/>
            <p:nvPr/>
          </p:nvSpPr>
          <p:spPr>
            <a:xfrm>
              <a:off x="8232035" y="2831501"/>
              <a:ext cx="697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0684432-06D7-406F-A8C9-81176B34BE5F}"/>
              </a:ext>
            </a:extLst>
          </p:cNvPr>
          <p:cNvGrpSpPr/>
          <p:nvPr/>
        </p:nvGrpSpPr>
        <p:grpSpPr>
          <a:xfrm>
            <a:off x="9062402" y="4828936"/>
            <a:ext cx="1074668" cy="607647"/>
            <a:chOff x="2399494" y="3441340"/>
            <a:chExt cx="976549" cy="552168"/>
          </a:xfrm>
          <a:solidFill>
            <a:srgbClr val="C00000"/>
          </a:solidFill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6E771E8-37A2-4A89-BDDE-A13F41E1202D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864CF5E-B9E1-478A-9599-5B85086D50AF}"/>
                </a:ext>
              </a:extLst>
            </p:cNvPr>
            <p:cNvSpPr txBox="1"/>
            <p:nvPr/>
          </p:nvSpPr>
          <p:spPr>
            <a:xfrm>
              <a:off x="2399494" y="3498866"/>
              <a:ext cx="9765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ystem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D173835-D9F2-4F87-B767-107475B02FA5}"/>
              </a:ext>
            </a:extLst>
          </p:cNvPr>
          <p:cNvGrpSpPr/>
          <p:nvPr/>
        </p:nvGrpSpPr>
        <p:grpSpPr>
          <a:xfrm>
            <a:off x="10341023" y="4828936"/>
            <a:ext cx="1049665" cy="607647"/>
            <a:chOff x="2410853" y="3441340"/>
            <a:chExt cx="953829" cy="552168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9011727-99DD-4549-AFC3-1CC858DF95F1}"/>
                </a:ext>
              </a:extLst>
            </p:cNvPr>
            <p:cNvSpPr/>
            <p:nvPr/>
          </p:nvSpPr>
          <p:spPr>
            <a:xfrm rot="12600000" flipV="1">
              <a:off x="2410853" y="3441340"/>
              <a:ext cx="953829" cy="552168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5362726-B961-4E08-A70D-C381381A5269}"/>
                </a:ext>
              </a:extLst>
            </p:cNvPr>
            <p:cNvSpPr txBox="1"/>
            <p:nvPr/>
          </p:nvSpPr>
          <p:spPr>
            <a:xfrm>
              <a:off x="2444074" y="3498866"/>
              <a:ext cx="887388" cy="4195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ener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onent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5A94179-5431-4967-9FE9-19939FC84178}"/>
              </a:ext>
            </a:extLst>
          </p:cNvPr>
          <p:cNvGrpSpPr/>
          <p:nvPr/>
        </p:nvGrpSpPr>
        <p:grpSpPr>
          <a:xfrm>
            <a:off x="10321608" y="3825033"/>
            <a:ext cx="867032" cy="501921"/>
            <a:chOff x="2632334" y="2018331"/>
            <a:chExt cx="867032" cy="501921"/>
          </a:xfrm>
        </p:grpSpPr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18A058A-0D31-4847-96C9-6C4EF99763BE}"/>
                </a:ext>
              </a:extLst>
            </p:cNvPr>
            <p:cNvSpPr/>
            <p:nvPr/>
          </p:nvSpPr>
          <p:spPr>
            <a:xfrm rot="12600000" flipV="1">
              <a:off x="2632334" y="2018331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11F0EB40-60BE-4618-9F28-489AD41E7FDD}"/>
                </a:ext>
              </a:extLst>
            </p:cNvPr>
            <p:cNvSpPr txBox="1"/>
            <p:nvPr/>
          </p:nvSpPr>
          <p:spPr>
            <a:xfrm>
              <a:off x="2713831" y="2130301"/>
              <a:ext cx="7040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pace?</a:t>
              </a:r>
            </a:p>
          </p:txBody>
        </p:sp>
      </p:grpSp>
      <p:sp>
        <p:nvSpPr>
          <p:cNvPr id="103" name="TextBox 102">
            <a:extLst>
              <a:ext uri="{FF2B5EF4-FFF2-40B4-BE49-F238E27FC236}">
                <a16:creationId xmlns:a16="http://schemas.microsoft.com/office/drawing/2014/main" id="{35B8DFFD-E25F-4E69-9130-6E1FD9D3B143}"/>
              </a:ext>
            </a:extLst>
          </p:cNvPr>
          <p:cNvSpPr txBox="1"/>
          <p:nvPr/>
        </p:nvSpPr>
        <p:spPr>
          <a:xfrm>
            <a:off x="9358691" y="710860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BIS (simplified)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94174104-8A27-4ABC-880C-473335BB30E9}"/>
              </a:ext>
            </a:extLst>
          </p:cNvPr>
          <p:cNvSpPr txBox="1"/>
          <p:nvPr/>
        </p:nvSpPr>
        <p:spPr>
          <a:xfrm>
            <a:off x="751687" y="1280707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UNICLASS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F0F7C761-DBFD-4C19-B812-1EFD52BDA1FD}"/>
              </a:ext>
            </a:extLst>
          </p:cNvPr>
          <p:cNvSpPr/>
          <p:nvPr/>
        </p:nvSpPr>
        <p:spPr>
          <a:xfrm>
            <a:off x="4260918" y="1539614"/>
            <a:ext cx="3896966" cy="4804636"/>
          </a:xfrm>
          <a:prstGeom prst="roundRect">
            <a:avLst>
              <a:gd name="adj" fmla="val 12417"/>
            </a:avLst>
          </a:pr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9B91A79-F17F-4CC6-84C7-74DD35DA06AB}"/>
              </a:ext>
            </a:extLst>
          </p:cNvPr>
          <p:cNvSpPr/>
          <p:nvPr/>
        </p:nvSpPr>
        <p:spPr>
          <a:xfrm>
            <a:off x="4383469" y="2043933"/>
            <a:ext cx="3599974" cy="4135278"/>
          </a:xfrm>
          <a:prstGeom prst="roundRect">
            <a:avLst>
              <a:gd name="adj" fmla="val 12417"/>
            </a:avLst>
          </a:prstGeom>
          <a:noFill/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803B72D-9359-4AEA-AA16-740DABFD75E0}"/>
              </a:ext>
            </a:extLst>
          </p:cNvPr>
          <p:cNvSpPr/>
          <p:nvPr/>
        </p:nvSpPr>
        <p:spPr>
          <a:xfrm>
            <a:off x="4505107" y="2982850"/>
            <a:ext cx="3303442" cy="3023120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0CA37C85-F8A2-44C9-A222-CF75D661BF55}"/>
              </a:ext>
            </a:extLst>
          </p:cNvPr>
          <p:cNvSpPr/>
          <p:nvPr/>
        </p:nvSpPr>
        <p:spPr>
          <a:xfrm>
            <a:off x="4614625" y="3768464"/>
            <a:ext cx="2973954" cy="2096894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407C1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5232C2BA-7A98-498C-A7FC-AAE1C292CAEC}"/>
              </a:ext>
            </a:extLst>
          </p:cNvPr>
          <p:cNvSpPr/>
          <p:nvPr/>
        </p:nvSpPr>
        <p:spPr>
          <a:xfrm>
            <a:off x="5093104" y="1289873"/>
            <a:ext cx="1060020" cy="438915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ject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661F1C4C-D249-4719-96AF-69D975428010}"/>
              </a:ext>
            </a:extLst>
          </p:cNvPr>
          <p:cNvSpPr/>
          <p:nvPr/>
        </p:nvSpPr>
        <p:spPr>
          <a:xfrm>
            <a:off x="5093104" y="2788633"/>
            <a:ext cx="1060020" cy="43891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acility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32CDD8B2-EEE1-4791-A5AC-BD2F9C397517}"/>
              </a:ext>
            </a:extLst>
          </p:cNvPr>
          <p:cNvSpPr/>
          <p:nvPr/>
        </p:nvSpPr>
        <p:spPr>
          <a:xfrm>
            <a:off x="5093104" y="3522017"/>
            <a:ext cx="1060020" cy="438915"/>
          </a:xfrm>
          <a:prstGeom prst="roundRect">
            <a:avLst/>
          </a:prstGeom>
          <a:solidFill>
            <a:srgbClr val="407C1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err="1"/>
              <a:t>FacilityPart</a:t>
            </a:r>
            <a:endParaRPr lang="en-US" sz="1400" dirty="0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92BF8CF2-E0EE-4003-A3E7-112DC93D2E2E}"/>
              </a:ext>
            </a:extLst>
          </p:cNvPr>
          <p:cNvSpPr/>
          <p:nvPr/>
        </p:nvSpPr>
        <p:spPr>
          <a:xfrm>
            <a:off x="5093104" y="1809916"/>
            <a:ext cx="1060020" cy="43891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ite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5BF81A85-C8F2-425D-995E-7F060203D785}"/>
              </a:ext>
            </a:extLst>
          </p:cNvPr>
          <p:cNvSpPr/>
          <p:nvPr/>
        </p:nvSpPr>
        <p:spPr>
          <a:xfrm>
            <a:off x="6322861" y="4164135"/>
            <a:ext cx="886848" cy="271188"/>
          </a:xfrm>
          <a:prstGeom prst="roundRect">
            <a:avLst/>
          </a:prstGeom>
          <a:solidFill>
            <a:srgbClr val="7F7F7F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ACF9438-DDDC-4FED-85A0-A1BABC936137}"/>
              </a:ext>
            </a:extLst>
          </p:cNvPr>
          <p:cNvGrpSpPr/>
          <p:nvPr/>
        </p:nvGrpSpPr>
        <p:grpSpPr>
          <a:xfrm>
            <a:off x="9166218" y="1139284"/>
            <a:ext cx="867032" cy="501921"/>
            <a:chOff x="2940163" y="1283748"/>
            <a:chExt cx="867032" cy="501921"/>
          </a:xfrm>
          <a:solidFill>
            <a:srgbClr val="7030A0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575B6A1F-ABB7-494B-B8CF-BA48DDC1D8AD}"/>
                </a:ext>
              </a:extLst>
            </p:cNvPr>
            <p:cNvSpPr/>
            <p:nvPr/>
          </p:nvSpPr>
          <p:spPr>
            <a:xfrm rot="12600000" flipV="1">
              <a:off x="2940163" y="1283748"/>
              <a:ext cx="867032" cy="50192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DA10CA0D-1290-4988-A794-BBF2E7619661}"/>
                </a:ext>
              </a:extLst>
            </p:cNvPr>
            <p:cNvSpPr txBox="1"/>
            <p:nvPr/>
          </p:nvSpPr>
          <p:spPr>
            <a:xfrm>
              <a:off x="3012089" y="1373641"/>
              <a:ext cx="6960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ubject</a:t>
              </a:r>
            </a:p>
          </p:txBody>
        </p: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A771BE95-B326-4B85-9322-B0D695F075EE}"/>
              </a:ext>
            </a:extLst>
          </p:cNvPr>
          <p:cNvSpPr txBox="1"/>
          <p:nvPr/>
        </p:nvSpPr>
        <p:spPr>
          <a:xfrm>
            <a:off x="4929627" y="796932"/>
            <a:ext cx="1997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IFC</a:t>
            </a: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999642AA-7F15-4186-9A43-647544818BC5}"/>
              </a:ext>
            </a:extLst>
          </p:cNvPr>
          <p:cNvSpPr/>
          <p:nvPr/>
        </p:nvSpPr>
        <p:spPr>
          <a:xfrm>
            <a:off x="4793785" y="4526623"/>
            <a:ext cx="2694456" cy="1260006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0942527D-7170-4E5E-9F67-99D155E35EA7}"/>
              </a:ext>
            </a:extLst>
          </p:cNvPr>
          <p:cNvSpPr/>
          <p:nvPr/>
        </p:nvSpPr>
        <p:spPr>
          <a:xfrm>
            <a:off x="5109953" y="4307166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43EB1D56-2A26-49DB-90FC-D88054E39B64}"/>
              </a:ext>
            </a:extLst>
          </p:cNvPr>
          <p:cNvSpPr/>
          <p:nvPr/>
        </p:nvSpPr>
        <p:spPr>
          <a:xfrm>
            <a:off x="4958540" y="5020619"/>
            <a:ext cx="1364321" cy="641381"/>
          </a:xfrm>
          <a:prstGeom prst="roundRect">
            <a:avLst>
              <a:gd name="adj" fmla="val 12417"/>
            </a:avLst>
          </a:prstGeom>
          <a:solidFill>
            <a:schemeClr val="bg1"/>
          </a:solidFill>
          <a:ln w="28575">
            <a:solidFill>
              <a:srgbClr val="843C0C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B41CA356-392E-4107-AF53-69616CA49E3E}"/>
              </a:ext>
            </a:extLst>
          </p:cNvPr>
          <p:cNvSpPr/>
          <p:nvPr/>
        </p:nvSpPr>
        <p:spPr>
          <a:xfrm>
            <a:off x="5146920" y="4876578"/>
            <a:ext cx="1010306" cy="281103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ssembly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5F28F2A1-D29A-4012-A9F3-997A656FC327}"/>
              </a:ext>
            </a:extLst>
          </p:cNvPr>
          <p:cNvSpPr/>
          <p:nvPr/>
        </p:nvSpPr>
        <p:spPr>
          <a:xfrm>
            <a:off x="5154866" y="5286997"/>
            <a:ext cx="899909" cy="281102"/>
          </a:xfrm>
          <a:prstGeom prst="roundRect">
            <a:avLst/>
          </a:prstGeom>
          <a:gradFill>
            <a:gsLst>
              <a:gs pos="0">
                <a:srgbClr val="C00000"/>
              </a:gs>
              <a:gs pos="45000">
                <a:srgbClr val="C00000"/>
              </a:gs>
              <a:gs pos="61000">
                <a:srgbClr val="7F7F7F"/>
              </a:gs>
              <a:gs pos="100000">
                <a:srgbClr val="7F7F7F"/>
              </a:gs>
            </a:gsLst>
            <a:lin ang="0" scaled="0"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F79FD306-DB6D-49D4-B442-22A883F67282}"/>
              </a:ext>
            </a:extLst>
          </p:cNvPr>
          <p:cNvSpPr/>
          <p:nvPr/>
        </p:nvSpPr>
        <p:spPr>
          <a:xfrm>
            <a:off x="6440176" y="4805215"/>
            <a:ext cx="886848" cy="271188"/>
          </a:xfrm>
          <a:prstGeom prst="roundRect">
            <a:avLst/>
          </a:prstGeom>
          <a:solidFill>
            <a:srgbClr val="7F7F7F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lement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2CC36D0D-DA96-4014-BAE3-207316B4D01F}"/>
              </a:ext>
            </a:extLst>
          </p:cNvPr>
          <p:cNvSpPr/>
          <p:nvPr/>
        </p:nvSpPr>
        <p:spPr>
          <a:xfrm>
            <a:off x="6273201" y="3840887"/>
            <a:ext cx="1010306" cy="281103"/>
          </a:xfrm>
          <a:prstGeom prst="roundRect">
            <a:avLst/>
          </a:prstGeom>
          <a:solidFill>
            <a:srgbClr val="843C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ssembl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213E80-FC72-43C8-9440-7C084EC83EA6}"/>
              </a:ext>
            </a:extLst>
          </p:cNvPr>
          <p:cNvSpPr/>
          <p:nvPr/>
        </p:nvSpPr>
        <p:spPr>
          <a:xfrm>
            <a:off x="9951009" y="4573275"/>
            <a:ext cx="928026" cy="2470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ssembly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3FEC18A2-CA51-456E-A213-15E5E0B852F9}"/>
              </a:ext>
            </a:extLst>
          </p:cNvPr>
          <p:cNvSpPr/>
          <p:nvPr/>
        </p:nvSpPr>
        <p:spPr>
          <a:xfrm>
            <a:off x="6425420" y="3142387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717E7784-986F-45D6-8A75-35330343C58C}"/>
              </a:ext>
            </a:extLst>
          </p:cNvPr>
          <p:cNvSpPr/>
          <p:nvPr/>
        </p:nvSpPr>
        <p:spPr>
          <a:xfrm>
            <a:off x="6425420" y="2341618"/>
            <a:ext cx="1060020" cy="43891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pace</a:t>
            </a:r>
          </a:p>
        </p:txBody>
      </p:sp>
    </p:spTree>
    <p:extLst>
      <p:ext uri="{BB962C8B-B14F-4D97-AF65-F5344CB8AC3E}">
        <p14:creationId xmlns:p14="http://schemas.microsoft.com/office/powerpoint/2010/main" val="3614390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47" grpId="0" animBg="1"/>
      <p:bldP spid="143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DAF23-789C-4AA9-B03B-640185FBD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F207FE-8C52-4EA3-8E3F-1418F5E71E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ere else can Space go in </a:t>
            </a:r>
            <a:r>
              <a:rPr lang="en-US" dirty="0" err="1"/>
              <a:t>Uniclass</a:t>
            </a:r>
            <a:r>
              <a:rPr lang="en-US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84217147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0C726-8675-4C0D-B77F-AD0373E1A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Example - Spatial Modeling</a:t>
            </a:r>
            <a:r>
              <a:rPr lang="en-US" dirty="0"/>
              <a:t>  (</a:t>
            </a:r>
            <a:r>
              <a:rPr lang="en-US" dirty="0">
                <a:hlinkClick r:id="rId3"/>
              </a:rPr>
              <a:t>Web view</a:t>
            </a:r>
            <a:r>
              <a:rPr lang="en-US" dirty="0"/>
              <a:t>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6541F42-BD37-4F41-9720-39C302745751}"/>
              </a:ext>
            </a:extLst>
          </p:cNvPr>
          <p:cNvSpPr/>
          <p:nvPr/>
        </p:nvSpPr>
        <p:spPr>
          <a:xfrm>
            <a:off x="716692" y="996696"/>
            <a:ext cx="6096000" cy="60170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>
                <a:latin typeface="Calibri" panose="020F0502020204030204" pitchFamily="34" charset="0"/>
              </a:rPr>
              <a:t>This page provides a preliminary, example strategy for how:</a:t>
            </a:r>
          </a:p>
          <a:p>
            <a:pPr marL="342900" fontAlgn="ctr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</a:rPr>
              <a:t>IFC</a:t>
            </a:r>
          </a:p>
          <a:p>
            <a:pPr marL="342900" fontAlgn="ctr">
              <a:buFont typeface="Arial" panose="020B0604020202020204" pitchFamily="34" charset="0"/>
              <a:buChar char="•"/>
            </a:pPr>
            <a:r>
              <a:rPr lang="en-US" sz="1100" dirty="0" err="1">
                <a:latin typeface="Calibri" panose="020F0502020204030204" pitchFamily="34" charset="0"/>
              </a:rPr>
              <a:t>CityGML</a:t>
            </a:r>
            <a:endParaRPr lang="en-US" sz="1100" dirty="0">
              <a:latin typeface="Calibri" panose="020F0502020204030204" pitchFamily="34" charset="0"/>
            </a:endParaRPr>
          </a:p>
          <a:p>
            <a:pPr marL="342900" fontAlgn="ctr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</a:rPr>
              <a:t>CCOM</a:t>
            </a:r>
          </a:p>
          <a:p>
            <a:r>
              <a:rPr lang="en-US" sz="1100" dirty="0">
                <a:latin typeface="Calibri" panose="020F0502020204030204" pitchFamily="34" charset="0"/>
              </a:rPr>
              <a:t>Could influence and be mapped to a BIS Spatial organization.</a:t>
            </a:r>
          </a:p>
          <a:p>
            <a:r>
              <a:rPr lang="en-US" sz="1100" dirty="0">
                <a:latin typeface="Calibri" panose="020F0502020204030204" pitchFamily="34" charset="0"/>
              </a:rPr>
              <a:t> </a:t>
            </a:r>
          </a:p>
          <a:p>
            <a:r>
              <a:rPr lang="en-US" sz="1600" b="1" dirty="0">
                <a:solidFill>
                  <a:srgbClr val="1E4E79"/>
                </a:solidFill>
                <a:latin typeface="Calibri" panose="020F0502020204030204" pitchFamily="34" charset="0"/>
              </a:rPr>
              <a:t>Standards</a:t>
            </a:r>
          </a:p>
          <a:p>
            <a:r>
              <a:rPr lang="en-US" sz="1400" b="1" dirty="0">
                <a:solidFill>
                  <a:srgbClr val="2E75B5"/>
                </a:solidFill>
                <a:latin typeface="Calibri" panose="020F0502020204030204" pitchFamily="34" charset="0"/>
              </a:rPr>
              <a:t>IFC</a:t>
            </a:r>
          </a:p>
          <a:p>
            <a:r>
              <a:rPr lang="en-US" sz="1100" dirty="0">
                <a:latin typeface="Calibri" panose="020F0502020204030204" pitchFamily="34" charset="0"/>
              </a:rPr>
              <a:t>IFC has a reasonably complete set of spatial classes</a:t>
            </a:r>
          </a:p>
          <a:p>
            <a:pPr marL="342900" fontAlgn="ctr">
              <a:buFont typeface="Arial" panose="020B0604020202020204" pitchFamily="34" charset="0"/>
              <a:buChar char="•"/>
            </a:pPr>
            <a:r>
              <a:rPr lang="en-US" sz="1100" i="1" dirty="0" err="1">
                <a:latin typeface="Calibri" panose="020F0502020204030204" pitchFamily="34" charset="0"/>
              </a:rPr>
              <a:t>IfcSpatialElement</a:t>
            </a:r>
            <a:endParaRPr lang="en-US" sz="1100" dirty="0">
              <a:latin typeface="Calibri" panose="020F0502020204030204" pitchFamily="34" charset="0"/>
            </a:endParaRPr>
          </a:p>
          <a:p>
            <a:pPr marL="742950" lvl="1" indent="-285750" fontAlgn="ctr">
              <a:buFont typeface="Courier New" panose="02070309020205020404" pitchFamily="49" charset="0"/>
              <a:buChar char="o"/>
            </a:pPr>
            <a:r>
              <a:rPr lang="en-US" sz="1100" i="1" dirty="0" err="1">
                <a:latin typeface="Calibri" panose="020F0502020204030204" pitchFamily="34" charset="0"/>
              </a:rPr>
              <a:t>IfcExternalSpatialStructureElement</a:t>
            </a:r>
            <a:r>
              <a:rPr lang="en-US" sz="1100" dirty="0">
                <a:latin typeface="Calibri" panose="020F0502020204030204" pitchFamily="34" charset="0"/>
              </a:rPr>
              <a:t> - for extension</a:t>
            </a:r>
          </a:p>
          <a:p>
            <a:pPr marL="1143000" lvl="2" indent="-228600" fontAlgn="ctr">
              <a:buFont typeface="Arial" panose="020B0604020202020204" pitchFamily="34" charset="0"/>
              <a:buChar char="•"/>
            </a:pPr>
            <a:r>
              <a:rPr lang="en-US" sz="1100" i="1" dirty="0" err="1">
                <a:latin typeface="Calibri" panose="020F0502020204030204" pitchFamily="34" charset="0"/>
              </a:rPr>
              <a:t>IfcExternalSpatialElement</a:t>
            </a:r>
            <a:r>
              <a:rPr lang="en-US" sz="1100" dirty="0">
                <a:latin typeface="Calibri" panose="020F0502020204030204" pitchFamily="34" charset="0"/>
              </a:rPr>
              <a:t> - ….</a:t>
            </a:r>
          </a:p>
          <a:p>
            <a:pPr marL="742950" lvl="1" indent="-285750" fontAlgn="ctr">
              <a:buFont typeface="Courier New" panose="02070309020205020404" pitchFamily="49" charset="0"/>
              <a:buChar char="o"/>
            </a:pPr>
            <a:r>
              <a:rPr lang="en-US" sz="1100" i="1" dirty="0" err="1">
                <a:latin typeface="Calibri" panose="020F0502020204030204" pitchFamily="34" charset="0"/>
              </a:rPr>
              <a:t>IfcSpatialStructureElement</a:t>
            </a:r>
            <a:r>
              <a:rPr lang="en-US" sz="1100" dirty="0">
                <a:latin typeface="Calibri" panose="020F0502020204030204" pitchFamily="34" charset="0"/>
              </a:rPr>
              <a:t> - for hierarchical spaces</a:t>
            </a:r>
          </a:p>
          <a:p>
            <a:pPr marL="1143000" lvl="2" indent="-228600" fontAlgn="ctr">
              <a:buFont typeface="Arial" panose="020B0604020202020204" pitchFamily="34" charset="0"/>
              <a:buChar char="•"/>
            </a:pPr>
            <a:r>
              <a:rPr lang="en-US" sz="1100" i="1" dirty="0" err="1">
                <a:latin typeface="Calibri" panose="020F0502020204030204" pitchFamily="34" charset="0"/>
              </a:rPr>
              <a:t>IfcBuilding</a:t>
            </a:r>
            <a:endParaRPr lang="en-US" sz="1100" dirty="0">
              <a:latin typeface="Calibri" panose="020F0502020204030204" pitchFamily="34" charset="0"/>
            </a:endParaRPr>
          </a:p>
          <a:p>
            <a:pPr marL="1143000" lvl="2" indent="-228600" fontAlgn="ctr">
              <a:buFont typeface="Arial" panose="020B0604020202020204" pitchFamily="34" charset="0"/>
              <a:buChar char="•"/>
            </a:pPr>
            <a:r>
              <a:rPr lang="en-US" sz="1100" i="1" dirty="0" err="1">
                <a:latin typeface="Calibri" panose="020F0502020204030204" pitchFamily="34" charset="0"/>
              </a:rPr>
              <a:t>IfcBuildingStorey</a:t>
            </a:r>
            <a:endParaRPr lang="en-US" sz="1100" dirty="0">
              <a:latin typeface="Calibri" panose="020F0502020204030204" pitchFamily="34" charset="0"/>
            </a:endParaRPr>
          </a:p>
          <a:p>
            <a:pPr marL="1143000" lvl="2" indent="-228600" fontAlgn="ctr">
              <a:buFont typeface="Arial" panose="020B0604020202020204" pitchFamily="34" charset="0"/>
              <a:buChar char="•"/>
            </a:pPr>
            <a:r>
              <a:rPr lang="en-US" sz="1100" i="1" dirty="0" err="1">
                <a:latin typeface="Calibri" panose="020F0502020204030204" pitchFamily="34" charset="0"/>
              </a:rPr>
              <a:t>IfcSite</a:t>
            </a:r>
            <a:endParaRPr lang="en-US" sz="1100" dirty="0">
              <a:latin typeface="Calibri" panose="020F0502020204030204" pitchFamily="34" charset="0"/>
            </a:endParaRPr>
          </a:p>
          <a:p>
            <a:pPr marL="1143000" lvl="2" indent="-228600" fontAlgn="ctr">
              <a:buFont typeface="Arial" panose="020B0604020202020204" pitchFamily="34" charset="0"/>
              <a:buChar char="•"/>
            </a:pPr>
            <a:r>
              <a:rPr lang="en-US" sz="1100" i="1" dirty="0" err="1">
                <a:latin typeface="Calibri" panose="020F0502020204030204" pitchFamily="34" charset="0"/>
              </a:rPr>
              <a:t>IfcSpace</a:t>
            </a:r>
            <a:endParaRPr lang="en-US" sz="1100" dirty="0">
              <a:latin typeface="Calibri" panose="020F0502020204030204" pitchFamily="34" charset="0"/>
            </a:endParaRPr>
          </a:p>
          <a:p>
            <a:pPr marL="742950" lvl="1" indent="-285750" fontAlgn="ctr">
              <a:buFont typeface="Courier New" panose="02070309020205020404" pitchFamily="49" charset="0"/>
              <a:buChar char="o"/>
            </a:pPr>
            <a:r>
              <a:rPr lang="en-US" sz="1100" i="1" dirty="0" err="1">
                <a:latin typeface="Calibri" panose="020F0502020204030204" pitchFamily="34" charset="0"/>
              </a:rPr>
              <a:t>IfcSpatialZone</a:t>
            </a:r>
            <a:r>
              <a:rPr lang="en-US" sz="1100" dirty="0">
                <a:latin typeface="Calibri" panose="020F0502020204030204" pitchFamily="34" charset="0"/>
              </a:rPr>
              <a:t> - non hierarchical space</a:t>
            </a:r>
          </a:p>
          <a:p>
            <a:pPr marL="342900" fontAlgn="ctr">
              <a:buFont typeface="Arial" panose="020B0604020202020204" pitchFamily="34" charset="0"/>
              <a:buChar char="•"/>
            </a:pPr>
            <a:r>
              <a:rPr lang="en-US" sz="1100" i="1" dirty="0" err="1">
                <a:latin typeface="Calibri" panose="020F0502020204030204" pitchFamily="34" charset="0"/>
              </a:rPr>
              <a:t>IfcZone</a:t>
            </a:r>
            <a:r>
              <a:rPr lang="en-US" sz="1100" dirty="0">
                <a:latin typeface="Calibri" panose="020F0502020204030204" pitchFamily="34" charset="0"/>
              </a:rPr>
              <a:t> - a group of </a:t>
            </a:r>
            <a:r>
              <a:rPr lang="en-US" sz="1100" i="1" dirty="0" err="1">
                <a:latin typeface="Calibri" panose="020F0502020204030204" pitchFamily="34" charset="0"/>
              </a:rPr>
              <a:t>IfcSpace</a:t>
            </a:r>
            <a:endParaRPr lang="en-US" sz="1100" dirty="0">
              <a:latin typeface="Calibri" panose="020F0502020204030204" pitchFamily="34" charset="0"/>
            </a:endParaRPr>
          </a:p>
          <a:p>
            <a:r>
              <a:rPr lang="en-US" sz="1100" dirty="0">
                <a:latin typeface="Calibri" panose="020F0502020204030204" pitchFamily="34" charset="0"/>
              </a:rPr>
              <a:t> </a:t>
            </a:r>
          </a:p>
          <a:p>
            <a:r>
              <a:rPr lang="en-US" sz="1100" dirty="0">
                <a:latin typeface="Calibri" panose="020F0502020204030204" pitchFamily="34" charset="0"/>
              </a:rPr>
              <a:t>For the </a:t>
            </a:r>
            <a:r>
              <a:rPr lang="en-US" sz="1100" i="1" dirty="0" err="1">
                <a:latin typeface="Calibri" panose="020F0502020204030204" pitchFamily="34" charset="0"/>
              </a:rPr>
              <a:t>IfcSpatialStructureElement</a:t>
            </a:r>
            <a:r>
              <a:rPr lang="en-US" sz="1100" dirty="0">
                <a:latin typeface="Calibri" panose="020F0502020204030204" pitchFamily="34" charset="0"/>
              </a:rPr>
              <a:t>, there is also the concept of tagging "complex" vs "element" vs "partial" to allow sub-sites, aggregate sites, etc.</a:t>
            </a:r>
          </a:p>
          <a:p>
            <a:r>
              <a:rPr lang="en-US" sz="1100" dirty="0">
                <a:latin typeface="Calibri" panose="020F0502020204030204" pitchFamily="34" charset="0"/>
              </a:rPr>
              <a:t> </a:t>
            </a:r>
          </a:p>
          <a:p>
            <a:r>
              <a:rPr lang="en-US" sz="1400" b="1" dirty="0" err="1">
                <a:solidFill>
                  <a:srgbClr val="2E75B5"/>
                </a:solidFill>
                <a:latin typeface="Calibri" panose="020F0502020204030204" pitchFamily="34" charset="0"/>
              </a:rPr>
              <a:t>CityGML</a:t>
            </a:r>
            <a:endParaRPr lang="en-US" sz="1400" b="1" dirty="0">
              <a:solidFill>
                <a:srgbClr val="2E75B5"/>
              </a:solidFill>
              <a:latin typeface="Calibri" panose="020F0502020204030204" pitchFamily="34" charset="0"/>
            </a:endParaRPr>
          </a:p>
          <a:p>
            <a:r>
              <a:rPr lang="en-US" sz="1100" dirty="0" err="1">
                <a:latin typeface="Calibri" panose="020F0502020204030204" pitchFamily="34" charset="0"/>
              </a:rPr>
              <a:t>CityGML</a:t>
            </a:r>
            <a:r>
              <a:rPr lang="en-US" sz="1100" dirty="0">
                <a:latin typeface="Calibri" panose="020F0502020204030204" pitchFamily="34" charset="0"/>
              </a:rPr>
              <a:t> has:</a:t>
            </a:r>
          </a:p>
          <a:p>
            <a:pPr marL="342900" fontAlgn="ctr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</a:rPr>
              <a:t>a </a:t>
            </a:r>
            <a:r>
              <a:rPr lang="en-US" sz="1100" i="1" dirty="0" err="1">
                <a:latin typeface="Calibri" panose="020F0502020204030204" pitchFamily="34" charset="0"/>
              </a:rPr>
              <a:t>LandUse</a:t>
            </a:r>
            <a:r>
              <a:rPr lang="en-US" sz="1100" dirty="0">
                <a:latin typeface="Calibri" panose="020F0502020204030204" pitchFamily="34" charset="0"/>
              </a:rPr>
              <a:t> concept that appears to be for non-overlapping earth surface areas.</a:t>
            </a:r>
          </a:p>
          <a:p>
            <a:pPr marL="342900" fontAlgn="ctr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</a:rPr>
              <a:t>A </a:t>
            </a:r>
            <a:r>
              <a:rPr lang="en-US" sz="1100" i="1" dirty="0">
                <a:latin typeface="Calibri" panose="020F0502020204030204" pitchFamily="34" charset="0"/>
              </a:rPr>
              <a:t>Room</a:t>
            </a:r>
            <a:r>
              <a:rPr lang="en-US" sz="1100" dirty="0">
                <a:latin typeface="Calibri" panose="020F0502020204030204" pitchFamily="34" charset="0"/>
              </a:rPr>
              <a:t> concept </a:t>
            </a:r>
          </a:p>
          <a:p>
            <a:pPr marL="342900" fontAlgn="ctr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</a:rPr>
              <a:t>A </a:t>
            </a:r>
            <a:r>
              <a:rPr lang="en-US" sz="1100" i="1" dirty="0" err="1">
                <a:latin typeface="Calibri" panose="020F0502020204030204" pitchFamily="34" charset="0"/>
              </a:rPr>
              <a:t>HollowSpace</a:t>
            </a:r>
            <a:r>
              <a:rPr lang="en-US" sz="1100" dirty="0">
                <a:latin typeface="Calibri" panose="020F0502020204030204" pitchFamily="34" charset="0"/>
              </a:rPr>
              <a:t> concept (primarily for tunnels)</a:t>
            </a:r>
          </a:p>
          <a:p>
            <a:pPr marL="342900" fontAlgn="ctr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</a:rPr>
              <a:t>A </a:t>
            </a:r>
            <a:r>
              <a:rPr lang="en-US" sz="1100" i="1" dirty="0" err="1">
                <a:latin typeface="Calibri" panose="020F0502020204030204" pitchFamily="34" charset="0"/>
              </a:rPr>
              <a:t>BridgeRoom</a:t>
            </a:r>
            <a:r>
              <a:rPr lang="en-US" sz="1100" dirty="0">
                <a:latin typeface="Calibri" panose="020F0502020204030204" pitchFamily="34" charset="0"/>
              </a:rPr>
              <a:t> concept (for bridges)</a:t>
            </a:r>
          </a:p>
          <a:p>
            <a:r>
              <a:rPr lang="en-US" sz="1100" dirty="0">
                <a:latin typeface="Calibri" panose="020F0502020204030204" pitchFamily="34" charset="0"/>
              </a:rPr>
              <a:t> </a:t>
            </a:r>
          </a:p>
          <a:p>
            <a:r>
              <a:rPr lang="en-US" sz="1100" dirty="0">
                <a:latin typeface="Calibri" panose="020F0502020204030204" pitchFamily="34" charset="0"/>
              </a:rPr>
              <a:t>However, </a:t>
            </a:r>
            <a:r>
              <a:rPr lang="en-US" sz="1100" dirty="0" err="1">
                <a:latin typeface="Calibri" panose="020F0502020204030204" pitchFamily="34" charset="0"/>
              </a:rPr>
              <a:t>CityGML</a:t>
            </a:r>
            <a:r>
              <a:rPr lang="en-US" sz="1100" dirty="0">
                <a:latin typeface="Calibri" panose="020F0502020204030204" pitchFamily="34" charset="0"/>
              </a:rPr>
              <a:t> uses the last 3 concepts (</a:t>
            </a:r>
            <a:r>
              <a:rPr lang="en-US" sz="1100" i="1" dirty="0">
                <a:latin typeface="Calibri" panose="020F0502020204030204" pitchFamily="34" charset="0"/>
              </a:rPr>
              <a:t>Room</a:t>
            </a:r>
            <a:r>
              <a:rPr lang="en-US" sz="1100" dirty="0">
                <a:latin typeface="Calibri" panose="020F0502020204030204" pitchFamily="34" charset="0"/>
              </a:rPr>
              <a:t>, </a:t>
            </a:r>
            <a:r>
              <a:rPr lang="en-US" sz="1100" i="1" dirty="0" err="1">
                <a:latin typeface="Calibri" panose="020F0502020204030204" pitchFamily="34" charset="0"/>
              </a:rPr>
              <a:t>HollowSpace</a:t>
            </a:r>
            <a:r>
              <a:rPr lang="en-US" sz="1100" dirty="0">
                <a:latin typeface="Calibri" panose="020F0502020204030204" pitchFamily="34" charset="0"/>
              </a:rPr>
              <a:t>, </a:t>
            </a:r>
            <a:r>
              <a:rPr lang="en-US" sz="1100" i="1" dirty="0" err="1">
                <a:latin typeface="Calibri" panose="020F0502020204030204" pitchFamily="34" charset="0"/>
              </a:rPr>
              <a:t>BridgeRoom</a:t>
            </a:r>
            <a:r>
              <a:rPr lang="en-US" sz="1100" dirty="0">
                <a:latin typeface="Calibri" panose="020F0502020204030204" pitchFamily="34" charset="0"/>
              </a:rPr>
              <a:t>) as part of the physical breakdown, so perhaps they can be neglected for Spatial Modeling.</a:t>
            </a:r>
          </a:p>
          <a:p>
            <a:r>
              <a:rPr lang="en-US" sz="1100" dirty="0">
                <a:latin typeface="Calibri" panose="020F0502020204030204" pitchFamily="34" charset="0"/>
              </a:rPr>
              <a:t> </a:t>
            </a:r>
          </a:p>
          <a:p>
            <a:r>
              <a:rPr lang="en-US" sz="1100" dirty="0">
                <a:latin typeface="Calibri" panose="020F0502020204030204" pitchFamily="34" charset="0"/>
              </a:rPr>
              <a:t>.</a:t>
            </a:r>
            <a:endParaRPr lang="en-US" sz="1100" dirty="0">
              <a:effectLst/>
              <a:latin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E5458DB-4774-4FDF-932F-7F32817EF7D7}"/>
              </a:ext>
            </a:extLst>
          </p:cNvPr>
          <p:cNvSpPr/>
          <p:nvPr/>
        </p:nvSpPr>
        <p:spPr>
          <a:xfrm>
            <a:off x="5750011" y="1125086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b="1" dirty="0">
                <a:solidFill>
                  <a:srgbClr val="2E75B5"/>
                </a:solidFill>
                <a:latin typeface="Calibri" panose="020F0502020204030204" pitchFamily="34" charset="0"/>
              </a:rPr>
              <a:t>CCOM</a:t>
            </a:r>
          </a:p>
          <a:p>
            <a:r>
              <a:rPr lang="en-US" sz="1100" dirty="0">
                <a:latin typeface="Calibri" panose="020F0502020204030204" pitchFamily="34" charset="0"/>
              </a:rPr>
              <a:t>CCOM has a Site class, but this is for a different concept. It is effectively a facility. (it also mixes the functional and physical together in a single concept)</a:t>
            </a:r>
          </a:p>
          <a:p>
            <a:r>
              <a:rPr lang="en-US" sz="1100" dirty="0">
                <a:latin typeface="Calibri" panose="020F0502020204030204" pitchFamily="34" charset="0"/>
              </a:rPr>
              <a:t> </a:t>
            </a:r>
          </a:p>
          <a:p>
            <a:r>
              <a:rPr lang="en-US" sz="1600" b="1" dirty="0">
                <a:solidFill>
                  <a:srgbClr val="1E4E79"/>
                </a:solidFill>
                <a:latin typeface="Calibri" panose="020F0502020204030204" pitchFamily="34" charset="0"/>
              </a:rPr>
              <a:t>Driving Standard and Design</a:t>
            </a:r>
          </a:p>
          <a:p>
            <a:r>
              <a:rPr lang="en-US" sz="1100" dirty="0">
                <a:latin typeface="Calibri" panose="020F0502020204030204" pitchFamily="34" charset="0"/>
              </a:rPr>
              <a:t>Upon quick inspection, it appears:</a:t>
            </a:r>
          </a:p>
          <a:p>
            <a:pPr marL="342900" fontAlgn="ctr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</a:rPr>
              <a:t>IFC should be the Driving Standard.</a:t>
            </a:r>
          </a:p>
          <a:p>
            <a:pPr marL="342900" fontAlgn="ctr">
              <a:buFont typeface="Arial" panose="020B0604020202020204" pitchFamily="34" charset="0"/>
              <a:buChar char="•"/>
            </a:pPr>
            <a:r>
              <a:rPr lang="en-US" sz="1100" dirty="0">
                <a:latin typeface="Calibri" panose="020F0502020204030204" pitchFamily="34" charset="0"/>
              </a:rPr>
              <a:t>Some expansion or mapping should be done to include the </a:t>
            </a:r>
            <a:r>
              <a:rPr lang="en-US" sz="1100" i="1" dirty="0" err="1">
                <a:latin typeface="Calibri" panose="020F0502020204030204" pitchFamily="34" charset="0"/>
              </a:rPr>
              <a:t>LandUse</a:t>
            </a:r>
            <a:r>
              <a:rPr lang="en-US" sz="1100" dirty="0">
                <a:latin typeface="Calibri" panose="020F0502020204030204" pitchFamily="34" charset="0"/>
              </a:rPr>
              <a:t> concept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636287835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771AAC3-0F66-4F7A-9D1A-2100FB23EE81}"/>
              </a:ext>
            </a:extLst>
          </p:cNvPr>
          <p:cNvSpPr/>
          <p:nvPr/>
        </p:nvSpPr>
        <p:spPr>
          <a:xfrm>
            <a:off x="4727051" y="1653875"/>
            <a:ext cx="1041621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Does it have parts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059E1D-DED8-49D3-AB24-8E9226976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345" y="75737"/>
            <a:ext cx="11173968" cy="636493"/>
          </a:xfrm>
        </p:spPr>
        <p:txBody>
          <a:bodyPr/>
          <a:lstStyle/>
          <a:p>
            <a:r>
              <a:rPr lang="en-US" dirty="0"/>
              <a:t>How to model a real-world Entity</a:t>
            </a:r>
          </a:p>
        </p:txBody>
      </p:sp>
      <p:sp>
        <p:nvSpPr>
          <p:cNvPr id="5" name="Flowchart: Decision 4">
            <a:extLst>
              <a:ext uri="{FF2B5EF4-FFF2-40B4-BE49-F238E27FC236}">
                <a16:creationId xmlns:a16="http://schemas.microsoft.com/office/drawing/2014/main" id="{C00EB5A9-4BD0-4C9A-91F1-A4B7B0472C3B}"/>
              </a:ext>
            </a:extLst>
          </p:cNvPr>
          <p:cNvSpPr/>
          <p:nvPr/>
        </p:nvSpPr>
        <p:spPr>
          <a:xfrm>
            <a:off x="4651513" y="1483129"/>
            <a:ext cx="1192696" cy="910217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E6A8CAE-305F-4D10-A262-1D82348001C7}"/>
              </a:ext>
            </a:extLst>
          </p:cNvPr>
          <p:cNvSpPr/>
          <p:nvPr/>
        </p:nvSpPr>
        <p:spPr>
          <a:xfrm>
            <a:off x="3264011" y="707670"/>
            <a:ext cx="3967700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How should a given real-world Entity be represented?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005373A-0B0D-480C-8E5F-A8EC16FC2D85}"/>
              </a:ext>
            </a:extLst>
          </p:cNvPr>
          <p:cNvCxnSpPr>
            <a:cxnSpLocks/>
            <a:stCxn id="5" idx="2"/>
            <a:endCxn id="21" idx="0"/>
          </p:cNvCxnSpPr>
          <p:nvPr/>
        </p:nvCxnSpPr>
        <p:spPr>
          <a:xfrm>
            <a:off x="5247861" y="2393346"/>
            <a:ext cx="0" cy="44845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A196DFB6-AB67-48FD-8CFA-9D66816070F8}"/>
              </a:ext>
            </a:extLst>
          </p:cNvPr>
          <p:cNvSpPr/>
          <p:nvPr/>
        </p:nvSpPr>
        <p:spPr>
          <a:xfrm>
            <a:off x="5247861" y="2425592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73E8247-63BD-40CB-B5D7-EB8F76E5402F}"/>
              </a:ext>
            </a:extLst>
          </p:cNvPr>
          <p:cNvSpPr/>
          <p:nvPr/>
        </p:nvSpPr>
        <p:spPr>
          <a:xfrm>
            <a:off x="5844208" y="1676933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C837B73-EA2C-40F1-ADFA-376845ECA2BF}"/>
              </a:ext>
            </a:extLst>
          </p:cNvPr>
          <p:cNvSpPr/>
          <p:nvPr/>
        </p:nvSpPr>
        <p:spPr>
          <a:xfrm>
            <a:off x="6989198" y="1771260"/>
            <a:ext cx="2202512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ake it an “atomic” Element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6E05BA9-8DD9-4EE3-BF04-7FEBB4AF1020}"/>
              </a:ext>
            </a:extLst>
          </p:cNvPr>
          <p:cNvCxnSpPr>
            <a:cxnSpLocks/>
            <a:stCxn id="5" idx="3"/>
            <a:endCxn id="16" idx="1"/>
          </p:cNvCxnSpPr>
          <p:nvPr/>
        </p:nvCxnSpPr>
        <p:spPr>
          <a:xfrm>
            <a:off x="5844209" y="1938238"/>
            <a:ext cx="114498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F2A6C2DC-7CA3-445F-8DA4-98036E0C2E1B}"/>
              </a:ext>
            </a:extLst>
          </p:cNvPr>
          <p:cNvSpPr/>
          <p:nvPr/>
        </p:nvSpPr>
        <p:spPr>
          <a:xfrm>
            <a:off x="4727051" y="2996643"/>
            <a:ext cx="1041621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Are they individually identified?</a:t>
            </a:r>
          </a:p>
        </p:txBody>
      </p:sp>
      <p:sp>
        <p:nvSpPr>
          <p:cNvPr id="21" name="Flowchart: Decision 20">
            <a:extLst>
              <a:ext uri="{FF2B5EF4-FFF2-40B4-BE49-F238E27FC236}">
                <a16:creationId xmlns:a16="http://schemas.microsoft.com/office/drawing/2014/main" id="{AB77C767-5740-4523-A57E-998EAFB88BAB}"/>
              </a:ext>
            </a:extLst>
          </p:cNvPr>
          <p:cNvSpPr/>
          <p:nvPr/>
        </p:nvSpPr>
        <p:spPr>
          <a:xfrm>
            <a:off x="4603804" y="2841799"/>
            <a:ext cx="1288114" cy="983036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07A05C5-BC7A-4ECB-95B0-1E1D8624CF96}"/>
              </a:ext>
            </a:extLst>
          </p:cNvPr>
          <p:cNvSpPr/>
          <p:nvPr/>
        </p:nvSpPr>
        <p:spPr>
          <a:xfrm>
            <a:off x="5844208" y="3035603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206934A-1226-4463-ACF4-91FBADCE3B3B}"/>
              </a:ext>
            </a:extLst>
          </p:cNvPr>
          <p:cNvSpPr/>
          <p:nvPr/>
        </p:nvSpPr>
        <p:spPr>
          <a:xfrm>
            <a:off x="6989198" y="3095141"/>
            <a:ext cx="3419059" cy="476352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ake it an “atomic” Element and represent parts in GeometryStream of an Element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FF7699D-108B-477F-BA0D-E32BAC34518D}"/>
              </a:ext>
            </a:extLst>
          </p:cNvPr>
          <p:cNvCxnSpPr>
            <a:cxnSpLocks/>
            <a:stCxn id="21" idx="3"/>
            <a:endCxn id="24" idx="1"/>
          </p:cNvCxnSpPr>
          <p:nvPr/>
        </p:nvCxnSpPr>
        <p:spPr>
          <a:xfrm>
            <a:off x="5891918" y="3333317"/>
            <a:ext cx="109728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D23C0F1-EC45-4852-9A62-02A43380E911}"/>
              </a:ext>
            </a:extLst>
          </p:cNvPr>
          <p:cNvCxnSpPr>
            <a:cxnSpLocks/>
            <a:stCxn id="8" idx="2"/>
            <a:endCxn id="5" idx="0"/>
          </p:cNvCxnSpPr>
          <p:nvPr/>
        </p:nvCxnSpPr>
        <p:spPr>
          <a:xfrm>
            <a:off x="5247861" y="1041625"/>
            <a:ext cx="0" cy="44150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C88A5E51-B076-4E9D-A00A-903C07D4F5A9}"/>
              </a:ext>
            </a:extLst>
          </p:cNvPr>
          <p:cNvSpPr/>
          <p:nvPr/>
        </p:nvSpPr>
        <p:spPr>
          <a:xfrm>
            <a:off x="5247861" y="3916521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B4E4B37-837C-4F7A-AB5C-02749D9C88A6}"/>
              </a:ext>
            </a:extLst>
          </p:cNvPr>
          <p:cNvCxnSpPr>
            <a:cxnSpLocks/>
            <a:stCxn id="21" idx="2"/>
            <a:endCxn id="41" idx="0"/>
          </p:cNvCxnSpPr>
          <p:nvPr/>
        </p:nvCxnSpPr>
        <p:spPr>
          <a:xfrm>
            <a:off x="5247861" y="3824835"/>
            <a:ext cx="1" cy="43275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9C3DE5E2-F7F1-4148-9D36-BA90EE9C585C}"/>
              </a:ext>
            </a:extLst>
          </p:cNvPr>
          <p:cNvSpPr/>
          <p:nvPr/>
        </p:nvSpPr>
        <p:spPr>
          <a:xfrm>
            <a:off x="4590831" y="4576064"/>
            <a:ext cx="1314061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Are whole &amp; parts modeled by the same person?</a:t>
            </a:r>
          </a:p>
        </p:txBody>
      </p:sp>
      <p:sp>
        <p:nvSpPr>
          <p:cNvPr id="41" name="Flowchart: Decision 40">
            <a:extLst>
              <a:ext uri="{FF2B5EF4-FFF2-40B4-BE49-F238E27FC236}">
                <a16:creationId xmlns:a16="http://schemas.microsoft.com/office/drawing/2014/main" id="{7F02AB72-B3CA-4C54-B34F-F240175CE251}"/>
              </a:ext>
            </a:extLst>
          </p:cNvPr>
          <p:cNvSpPr/>
          <p:nvPr/>
        </p:nvSpPr>
        <p:spPr>
          <a:xfrm>
            <a:off x="4460682" y="4257593"/>
            <a:ext cx="1574359" cy="1201486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EE57914-3900-437E-9848-0B5C1FAD45CE}"/>
              </a:ext>
            </a:extLst>
          </p:cNvPr>
          <p:cNvSpPr/>
          <p:nvPr/>
        </p:nvSpPr>
        <p:spPr>
          <a:xfrm>
            <a:off x="5922824" y="4568553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E32A249-3E2D-4655-9497-D7385B097797}"/>
              </a:ext>
            </a:extLst>
          </p:cNvPr>
          <p:cNvCxnSpPr>
            <a:cxnSpLocks/>
            <a:stCxn id="41" idx="3"/>
            <a:endCxn id="66" idx="1"/>
          </p:cNvCxnSpPr>
          <p:nvPr/>
        </p:nvCxnSpPr>
        <p:spPr>
          <a:xfrm>
            <a:off x="6035041" y="4858336"/>
            <a:ext cx="95415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EE4E1468-142C-4CA5-8A69-803B74D0F658}"/>
              </a:ext>
            </a:extLst>
          </p:cNvPr>
          <p:cNvSpPr/>
          <p:nvPr/>
        </p:nvSpPr>
        <p:spPr>
          <a:xfrm>
            <a:off x="5247861" y="5523141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01C9FF23-BD1C-450F-B374-F4EF319BEC64}"/>
              </a:ext>
            </a:extLst>
          </p:cNvPr>
          <p:cNvCxnSpPr>
            <a:cxnSpLocks/>
            <a:stCxn id="41" idx="2"/>
            <a:endCxn id="67" idx="0"/>
          </p:cNvCxnSpPr>
          <p:nvPr/>
        </p:nvCxnSpPr>
        <p:spPr>
          <a:xfrm flipH="1">
            <a:off x="5247861" y="5459079"/>
            <a:ext cx="1" cy="45948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9904A30-F60E-406A-AFAA-ECCD94B19827}"/>
              </a:ext>
            </a:extLst>
          </p:cNvPr>
          <p:cNvSpPr/>
          <p:nvPr/>
        </p:nvSpPr>
        <p:spPr>
          <a:xfrm>
            <a:off x="6989198" y="4691358"/>
            <a:ext cx="2448999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Represent parts in a sub-Model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FE4B6E1-3567-44B6-A1F8-6AD85FDDD60A}"/>
              </a:ext>
            </a:extLst>
          </p:cNvPr>
          <p:cNvSpPr/>
          <p:nvPr/>
        </p:nvSpPr>
        <p:spPr>
          <a:xfrm>
            <a:off x="3494475" y="5918559"/>
            <a:ext cx="3506771" cy="452009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OK to represent parts as child Elements, but breaking down in a sub-Model is also an option</a:t>
            </a:r>
          </a:p>
        </p:txBody>
      </p:sp>
    </p:spTree>
    <p:extLst>
      <p:ext uri="{BB962C8B-B14F-4D97-AF65-F5344CB8AC3E}">
        <p14:creationId xmlns:p14="http://schemas.microsoft.com/office/powerpoint/2010/main" val="3649140678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771AAC3-0F66-4F7A-9D1A-2100FB23EE81}"/>
              </a:ext>
            </a:extLst>
          </p:cNvPr>
          <p:cNvSpPr/>
          <p:nvPr/>
        </p:nvSpPr>
        <p:spPr>
          <a:xfrm>
            <a:off x="4727051" y="1057518"/>
            <a:ext cx="1041621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Does it have parts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059E1D-DED8-49D3-AB24-8E9226976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98" y="-258665"/>
            <a:ext cx="11173968" cy="636493"/>
          </a:xfrm>
        </p:spPr>
        <p:txBody>
          <a:bodyPr/>
          <a:lstStyle/>
          <a:p>
            <a:r>
              <a:rPr lang="en-US" dirty="0"/>
              <a:t>How to model a real-world Entity</a:t>
            </a:r>
          </a:p>
        </p:txBody>
      </p:sp>
      <p:sp>
        <p:nvSpPr>
          <p:cNvPr id="5" name="Flowchart: Decision 4">
            <a:extLst>
              <a:ext uri="{FF2B5EF4-FFF2-40B4-BE49-F238E27FC236}">
                <a16:creationId xmlns:a16="http://schemas.microsoft.com/office/drawing/2014/main" id="{C00EB5A9-4BD0-4C9A-91F1-A4B7B0472C3B}"/>
              </a:ext>
            </a:extLst>
          </p:cNvPr>
          <p:cNvSpPr/>
          <p:nvPr/>
        </p:nvSpPr>
        <p:spPr>
          <a:xfrm>
            <a:off x="4595293" y="886772"/>
            <a:ext cx="1305137" cy="910217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E6A8CAE-305F-4D10-A262-1D82348001C7}"/>
              </a:ext>
            </a:extLst>
          </p:cNvPr>
          <p:cNvSpPr/>
          <p:nvPr/>
        </p:nvSpPr>
        <p:spPr>
          <a:xfrm>
            <a:off x="3264011" y="349851"/>
            <a:ext cx="3967700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How should a given real-world Entity be modeled?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005373A-0B0D-480C-8E5F-A8EC16FC2D85}"/>
              </a:ext>
            </a:extLst>
          </p:cNvPr>
          <p:cNvCxnSpPr>
            <a:cxnSpLocks/>
            <a:stCxn id="5" idx="2"/>
            <a:endCxn id="21" idx="0"/>
          </p:cNvCxnSpPr>
          <p:nvPr/>
        </p:nvCxnSpPr>
        <p:spPr>
          <a:xfrm>
            <a:off x="5247862" y="1796989"/>
            <a:ext cx="0" cy="2894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A196DFB6-AB67-48FD-8CFA-9D66816070F8}"/>
              </a:ext>
            </a:extLst>
          </p:cNvPr>
          <p:cNvSpPr/>
          <p:nvPr/>
        </p:nvSpPr>
        <p:spPr>
          <a:xfrm>
            <a:off x="5213396" y="1748759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73E8247-63BD-40CB-B5D7-EB8F76E5402F}"/>
              </a:ext>
            </a:extLst>
          </p:cNvPr>
          <p:cNvSpPr/>
          <p:nvPr/>
        </p:nvSpPr>
        <p:spPr>
          <a:xfrm>
            <a:off x="5955523" y="1080576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C837B73-EA2C-40F1-ADFA-376845ECA2BF}"/>
              </a:ext>
            </a:extLst>
          </p:cNvPr>
          <p:cNvSpPr/>
          <p:nvPr/>
        </p:nvSpPr>
        <p:spPr>
          <a:xfrm>
            <a:off x="6989197" y="1174903"/>
            <a:ext cx="2448999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it as an “atomic” Element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6E05BA9-8DD9-4EE3-BF04-7FEBB4AF1020}"/>
              </a:ext>
            </a:extLst>
          </p:cNvPr>
          <p:cNvCxnSpPr>
            <a:cxnSpLocks/>
            <a:stCxn id="5" idx="3"/>
            <a:endCxn id="16" idx="1"/>
          </p:cNvCxnSpPr>
          <p:nvPr/>
        </p:nvCxnSpPr>
        <p:spPr>
          <a:xfrm>
            <a:off x="5900430" y="1341881"/>
            <a:ext cx="108876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F2A6C2DC-7CA3-445F-8DA4-98036E0C2E1B}"/>
              </a:ext>
            </a:extLst>
          </p:cNvPr>
          <p:cNvSpPr/>
          <p:nvPr/>
        </p:nvSpPr>
        <p:spPr>
          <a:xfrm>
            <a:off x="4727051" y="2241260"/>
            <a:ext cx="1041621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Are they individually identified?</a:t>
            </a:r>
          </a:p>
        </p:txBody>
      </p:sp>
      <p:sp>
        <p:nvSpPr>
          <p:cNvPr id="21" name="Flowchart: Decision 20">
            <a:extLst>
              <a:ext uri="{FF2B5EF4-FFF2-40B4-BE49-F238E27FC236}">
                <a16:creationId xmlns:a16="http://schemas.microsoft.com/office/drawing/2014/main" id="{AB77C767-5740-4523-A57E-998EAFB88BAB}"/>
              </a:ext>
            </a:extLst>
          </p:cNvPr>
          <p:cNvSpPr/>
          <p:nvPr/>
        </p:nvSpPr>
        <p:spPr>
          <a:xfrm>
            <a:off x="4543086" y="2086416"/>
            <a:ext cx="1409551" cy="983036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07A05C5-BC7A-4ECB-95B0-1E1D8624CF96}"/>
              </a:ext>
            </a:extLst>
          </p:cNvPr>
          <p:cNvSpPr/>
          <p:nvPr/>
        </p:nvSpPr>
        <p:spPr>
          <a:xfrm>
            <a:off x="5955523" y="2280220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206934A-1226-4463-ACF4-91FBADCE3B3B}"/>
              </a:ext>
            </a:extLst>
          </p:cNvPr>
          <p:cNvSpPr/>
          <p:nvPr/>
        </p:nvSpPr>
        <p:spPr>
          <a:xfrm>
            <a:off x="6989197" y="2339758"/>
            <a:ext cx="3562183" cy="476352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it an “atomic” Element with parts represented in GeometryStream of the Element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FF7699D-108B-477F-BA0D-E32BAC34518D}"/>
              </a:ext>
            </a:extLst>
          </p:cNvPr>
          <p:cNvCxnSpPr>
            <a:cxnSpLocks/>
            <a:stCxn id="21" idx="3"/>
            <a:endCxn id="24" idx="1"/>
          </p:cNvCxnSpPr>
          <p:nvPr/>
        </p:nvCxnSpPr>
        <p:spPr>
          <a:xfrm>
            <a:off x="5952637" y="2577934"/>
            <a:ext cx="103656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D23C0F1-EC45-4852-9A62-02A43380E911}"/>
              </a:ext>
            </a:extLst>
          </p:cNvPr>
          <p:cNvCxnSpPr>
            <a:cxnSpLocks/>
            <a:stCxn id="8" idx="2"/>
            <a:endCxn id="5" idx="0"/>
          </p:cNvCxnSpPr>
          <p:nvPr/>
        </p:nvCxnSpPr>
        <p:spPr>
          <a:xfrm>
            <a:off x="5247861" y="683806"/>
            <a:ext cx="1" cy="2029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C88A5E51-B076-4E9D-A00A-903C07D4F5A9}"/>
              </a:ext>
            </a:extLst>
          </p:cNvPr>
          <p:cNvSpPr/>
          <p:nvPr/>
        </p:nvSpPr>
        <p:spPr>
          <a:xfrm>
            <a:off x="5229568" y="3008395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B4E4B37-837C-4F7A-AB5C-02749D9C88A6}"/>
              </a:ext>
            </a:extLst>
          </p:cNvPr>
          <p:cNvCxnSpPr>
            <a:cxnSpLocks/>
            <a:stCxn id="21" idx="2"/>
            <a:endCxn id="41" idx="0"/>
          </p:cNvCxnSpPr>
          <p:nvPr/>
        </p:nvCxnSpPr>
        <p:spPr>
          <a:xfrm flipH="1">
            <a:off x="5247861" y="3069452"/>
            <a:ext cx="1" cy="25783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9C3DE5E2-F7F1-4148-9D36-BA90EE9C585C}"/>
              </a:ext>
            </a:extLst>
          </p:cNvPr>
          <p:cNvSpPr/>
          <p:nvPr/>
        </p:nvSpPr>
        <p:spPr>
          <a:xfrm>
            <a:off x="4590831" y="3645754"/>
            <a:ext cx="1314061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Are whole &amp; parts modeled by the different people?</a:t>
            </a:r>
          </a:p>
        </p:txBody>
      </p:sp>
      <p:sp>
        <p:nvSpPr>
          <p:cNvPr id="41" name="Flowchart: Decision 40">
            <a:extLst>
              <a:ext uri="{FF2B5EF4-FFF2-40B4-BE49-F238E27FC236}">
                <a16:creationId xmlns:a16="http://schemas.microsoft.com/office/drawing/2014/main" id="{7F02AB72-B3CA-4C54-B34F-F240175CE251}"/>
              </a:ext>
            </a:extLst>
          </p:cNvPr>
          <p:cNvSpPr/>
          <p:nvPr/>
        </p:nvSpPr>
        <p:spPr>
          <a:xfrm>
            <a:off x="4386470" y="3327283"/>
            <a:ext cx="1722782" cy="1201486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EE57914-3900-437E-9848-0B5C1FAD45CE}"/>
              </a:ext>
            </a:extLst>
          </p:cNvPr>
          <p:cNvSpPr/>
          <p:nvPr/>
        </p:nvSpPr>
        <p:spPr>
          <a:xfrm>
            <a:off x="5955523" y="3638243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E32A249-3E2D-4655-9497-D7385B097797}"/>
              </a:ext>
            </a:extLst>
          </p:cNvPr>
          <p:cNvCxnSpPr>
            <a:cxnSpLocks/>
            <a:stCxn id="41" idx="3"/>
            <a:endCxn id="66" idx="1"/>
          </p:cNvCxnSpPr>
          <p:nvPr/>
        </p:nvCxnSpPr>
        <p:spPr>
          <a:xfrm>
            <a:off x="6109252" y="3928026"/>
            <a:ext cx="87994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EE4E1468-142C-4CA5-8A69-803B74D0F658}"/>
              </a:ext>
            </a:extLst>
          </p:cNvPr>
          <p:cNvSpPr/>
          <p:nvPr/>
        </p:nvSpPr>
        <p:spPr>
          <a:xfrm>
            <a:off x="5247861" y="4457658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01C9FF23-BD1C-450F-B374-F4EF319BEC64}"/>
              </a:ext>
            </a:extLst>
          </p:cNvPr>
          <p:cNvCxnSpPr>
            <a:cxnSpLocks/>
            <a:stCxn id="41" idx="2"/>
          </p:cNvCxnSpPr>
          <p:nvPr/>
        </p:nvCxnSpPr>
        <p:spPr>
          <a:xfrm>
            <a:off x="5247861" y="4528769"/>
            <a:ext cx="1" cy="2527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9904A30-F60E-406A-AFAA-ECCD94B19827}"/>
              </a:ext>
            </a:extLst>
          </p:cNvPr>
          <p:cNvSpPr/>
          <p:nvPr/>
        </p:nvSpPr>
        <p:spPr>
          <a:xfrm>
            <a:off x="6989198" y="3761048"/>
            <a:ext cx="2448999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parts in a sub-Model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F5125A47-5378-41FE-9A6B-AA2D1F5DBF69}"/>
              </a:ext>
            </a:extLst>
          </p:cNvPr>
          <p:cNvSpPr/>
          <p:nvPr/>
        </p:nvSpPr>
        <p:spPr>
          <a:xfrm>
            <a:off x="3921922" y="6246047"/>
            <a:ext cx="2651878" cy="285650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parts as child Elemen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5A3C04C-751B-4322-9DCB-84B290EB10BE}"/>
              </a:ext>
            </a:extLst>
          </p:cNvPr>
          <p:cNvSpPr/>
          <p:nvPr/>
        </p:nvSpPr>
        <p:spPr>
          <a:xfrm>
            <a:off x="4622635" y="5076697"/>
            <a:ext cx="1253377" cy="61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both as a whole and as a set of parts?</a:t>
            </a:r>
          </a:p>
        </p:txBody>
      </p:sp>
      <p:sp>
        <p:nvSpPr>
          <p:cNvPr id="29" name="Flowchart: Decision 28">
            <a:extLst>
              <a:ext uri="{FF2B5EF4-FFF2-40B4-BE49-F238E27FC236}">
                <a16:creationId xmlns:a16="http://schemas.microsoft.com/office/drawing/2014/main" id="{12C6164A-730B-448C-9892-7A9862967AFE}"/>
              </a:ext>
            </a:extLst>
          </p:cNvPr>
          <p:cNvSpPr/>
          <p:nvPr/>
        </p:nvSpPr>
        <p:spPr>
          <a:xfrm>
            <a:off x="4386470" y="4782079"/>
            <a:ext cx="1722782" cy="1201486"/>
          </a:xfrm>
          <a:prstGeom prst="flowChartDecision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5036269-36BA-46D9-A0BC-EF14983DEC19}"/>
              </a:ext>
            </a:extLst>
          </p:cNvPr>
          <p:cNvSpPr/>
          <p:nvPr/>
        </p:nvSpPr>
        <p:spPr>
          <a:xfrm>
            <a:off x="5955523" y="5093039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yes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1F26CE0-E1FD-43FC-99EA-397440E8C947}"/>
              </a:ext>
            </a:extLst>
          </p:cNvPr>
          <p:cNvCxnSpPr>
            <a:cxnSpLocks/>
            <a:stCxn id="29" idx="3"/>
            <a:endCxn id="35" idx="1"/>
          </p:cNvCxnSpPr>
          <p:nvPr/>
        </p:nvCxnSpPr>
        <p:spPr>
          <a:xfrm>
            <a:off x="6109252" y="5382822"/>
            <a:ext cx="87994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084DA022-2036-4D43-A801-13650501EFDD}"/>
              </a:ext>
            </a:extLst>
          </p:cNvPr>
          <p:cNvSpPr/>
          <p:nvPr/>
        </p:nvSpPr>
        <p:spPr>
          <a:xfrm>
            <a:off x="5247861" y="5912454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no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1105820-3908-42F9-8D76-A2CF3060EEAB}"/>
              </a:ext>
            </a:extLst>
          </p:cNvPr>
          <p:cNvCxnSpPr>
            <a:cxnSpLocks/>
            <a:stCxn id="29" idx="2"/>
            <a:endCxn id="27" idx="0"/>
          </p:cNvCxnSpPr>
          <p:nvPr/>
        </p:nvCxnSpPr>
        <p:spPr>
          <a:xfrm>
            <a:off x="5247861" y="5983565"/>
            <a:ext cx="0" cy="26248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A4BC26D2-6C69-4A1C-9F36-8E9B53259FA2}"/>
              </a:ext>
            </a:extLst>
          </p:cNvPr>
          <p:cNvSpPr/>
          <p:nvPr/>
        </p:nvSpPr>
        <p:spPr>
          <a:xfrm>
            <a:off x="6989198" y="5215844"/>
            <a:ext cx="2448999" cy="333955"/>
          </a:xfrm>
          <a:prstGeom prst="roundRect">
            <a:avLst>
              <a:gd name="adj" fmla="val 5000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Model parts in a sub-Model</a:t>
            </a:r>
          </a:p>
        </p:txBody>
      </p:sp>
    </p:spTree>
    <p:extLst>
      <p:ext uri="{BB962C8B-B14F-4D97-AF65-F5344CB8AC3E}">
        <p14:creationId xmlns:p14="http://schemas.microsoft.com/office/powerpoint/2010/main" val="136000670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rly in the lifecyc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80993D7-5A7B-47FA-995E-EE4418402F04}"/>
              </a:ext>
            </a:extLst>
          </p:cNvPr>
          <p:cNvGrpSpPr/>
          <p:nvPr/>
        </p:nvGrpSpPr>
        <p:grpSpPr>
          <a:xfrm>
            <a:off x="8003939" y="2289097"/>
            <a:ext cx="2014030" cy="1165911"/>
            <a:chOff x="8449986" y="3438711"/>
            <a:chExt cx="2014030" cy="1165911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5CA6CC5-F9E0-4F68-B877-A12CC12F5636}"/>
                </a:ext>
              </a:extLst>
            </p:cNvPr>
            <p:cNvSpPr/>
            <p:nvPr/>
          </p:nvSpPr>
          <p:spPr>
            <a:xfrm rot="12600000" flipV="1">
              <a:off x="8449986" y="3438711"/>
              <a:ext cx="2014030" cy="116591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534D535-5633-420A-B6CD-41538DADE4C4}"/>
                </a:ext>
              </a:extLst>
            </p:cNvPr>
            <p:cNvSpPr/>
            <p:nvPr/>
          </p:nvSpPr>
          <p:spPr>
            <a:xfrm>
              <a:off x="8788550" y="3682020"/>
              <a:ext cx="1336904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Temperature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Instrument</a:t>
              </a:r>
            </a:p>
          </p:txBody>
        </p: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FC42F3B-1130-4906-9A22-962EE7643718}"/>
              </a:ext>
            </a:extLst>
          </p:cNvPr>
          <p:cNvSpPr/>
          <p:nvPr/>
        </p:nvSpPr>
        <p:spPr>
          <a:xfrm>
            <a:off x="1922069" y="1779830"/>
            <a:ext cx="2442270" cy="1566386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TemperatureInstrument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ElementID = 23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FedGUID = abd523f7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TI-003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A = 12.1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B = 97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DD3A02-0BDF-4F6D-8F81-0171326BFA18}"/>
              </a:ext>
            </a:extLst>
          </p:cNvPr>
          <p:cNvGrpSpPr/>
          <p:nvPr/>
        </p:nvGrpSpPr>
        <p:grpSpPr>
          <a:xfrm>
            <a:off x="7421438" y="1816762"/>
            <a:ext cx="3328289" cy="3434464"/>
            <a:chOff x="7421438" y="796949"/>
            <a:chExt cx="3328289" cy="549536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64AB51F-5C75-470F-8D47-6733CEAB8910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349241C-B4E6-4E05-8DEB-0A4362E5E77B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5811DAC-A33C-4A27-B7EE-FD372D4C7B9E}"/>
              </a:ext>
            </a:extLst>
          </p:cNvPr>
          <p:cNvCxnSpPr>
            <a:cxnSpLocks/>
            <a:stCxn id="2" idx="3"/>
          </p:cNvCxnSpPr>
          <p:nvPr/>
        </p:nvCxnSpPr>
        <p:spPr>
          <a:xfrm>
            <a:off x="4364339" y="2563023"/>
            <a:ext cx="3865261" cy="21488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1FA8297A-5596-4FFE-82B4-7F80E24DA424}"/>
              </a:ext>
            </a:extLst>
          </p:cNvPr>
          <p:cNvGrpSpPr/>
          <p:nvPr/>
        </p:nvGrpSpPr>
        <p:grpSpPr>
          <a:xfrm>
            <a:off x="217283" y="996697"/>
            <a:ext cx="5460389" cy="5259248"/>
            <a:chOff x="196828" y="890805"/>
            <a:chExt cx="4523821" cy="549536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A25419-9613-4D6D-B201-A7601453CF05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855CBFC-D0D7-450E-B324-36DAE9C94A5B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4A916D1-F651-4156-AE99-FB1242D41218}"/>
              </a:ext>
            </a:extLst>
          </p:cNvPr>
          <p:cNvSpPr/>
          <p:nvPr/>
        </p:nvSpPr>
        <p:spPr>
          <a:xfrm>
            <a:off x="1065266" y="3978953"/>
            <a:ext cx="4155874" cy="85129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TemperatureInstrumentType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TI-Generic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DisplayLabel = Generic Temperature Instrument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D418BF9-09A7-46A0-803E-DB0589451408}"/>
              </a:ext>
            </a:extLst>
          </p:cNvPr>
          <p:cNvCxnSpPr>
            <a:cxnSpLocks/>
            <a:stCxn id="2" idx="2"/>
            <a:endCxn id="42" idx="0"/>
          </p:cNvCxnSpPr>
          <p:nvPr/>
        </p:nvCxnSpPr>
        <p:spPr>
          <a:xfrm flipH="1">
            <a:off x="3143203" y="3346216"/>
            <a:ext cx="1" cy="63273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3FCC1AA3-563D-4FF8-8C8F-9B6FC75EDB9A}"/>
              </a:ext>
            </a:extLst>
          </p:cNvPr>
          <p:cNvSpPr txBox="1"/>
          <p:nvPr/>
        </p:nvSpPr>
        <p:spPr>
          <a:xfrm>
            <a:off x="3066071" y="3366597"/>
            <a:ext cx="9264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of type</a:t>
            </a:r>
          </a:p>
        </p:txBody>
      </p:sp>
    </p:spTree>
    <p:extLst>
      <p:ext uri="{BB962C8B-B14F-4D97-AF65-F5344CB8AC3E}">
        <p14:creationId xmlns:p14="http://schemas.microsoft.com/office/powerpoint/2010/main" val="34610244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1: Same Class, Different Typ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80993D7-5A7B-47FA-995E-EE4418402F04}"/>
              </a:ext>
            </a:extLst>
          </p:cNvPr>
          <p:cNvGrpSpPr/>
          <p:nvPr/>
        </p:nvGrpSpPr>
        <p:grpSpPr>
          <a:xfrm>
            <a:off x="8003939" y="2289097"/>
            <a:ext cx="2814952" cy="1558626"/>
            <a:chOff x="8449986" y="3438711"/>
            <a:chExt cx="2014030" cy="1165911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5CA6CC5-F9E0-4F68-B877-A12CC12F5636}"/>
                </a:ext>
              </a:extLst>
            </p:cNvPr>
            <p:cNvSpPr/>
            <p:nvPr/>
          </p:nvSpPr>
          <p:spPr>
            <a:xfrm rot="12600000" flipV="1">
              <a:off x="8449986" y="3438711"/>
              <a:ext cx="2014030" cy="116591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534D535-5633-420A-B6CD-41538DADE4C4}"/>
                </a:ext>
              </a:extLst>
            </p:cNvPr>
            <p:cNvSpPr/>
            <p:nvPr/>
          </p:nvSpPr>
          <p:spPr>
            <a:xfrm>
              <a:off x="8788552" y="3682020"/>
              <a:ext cx="1336904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Temperature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Element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with H Alarm</a:t>
              </a:r>
            </a:p>
          </p:txBody>
        </p: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FC42F3B-1130-4906-9A22-962EE7643718}"/>
              </a:ext>
            </a:extLst>
          </p:cNvPr>
          <p:cNvSpPr/>
          <p:nvPr/>
        </p:nvSpPr>
        <p:spPr>
          <a:xfrm>
            <a:off x="1922069" y="1779830"/>
            <a:ext cx="2442270" cy="1566386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TemperatureInstrument</a:t>
            </a:r>
          </a:p>
          <a:p>
            <a:pPr marL="91440" indent="-91440" algn="ctr">
              <a:buFontTx/>
              <a:buChar char="-"/>
            </a:pPr>
            <a:r>
              <a:rPr lang="en-US" sz="1400" dirty="0" err="1">
                <a:solidFill>
                  <a:schemeClr val="bg1"/>
                </a:solidFill>
              </a:rPr>
              <a:t>ElementId</a:t>
            </a:r>
            <a:r>
              <a:rPr lang="en-US" sz="1400" dirty="0">
                <a:solidFill>
                  <a:schemeClr val="bg1"/>
                </a:solidFill>
              </a:rPr>
              <a:t> = 23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FedGUID = abd523f7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TI-003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A = 12.1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B = 97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DD3A02-0BDF-4F6D-8F81-0171326BFA18}"/>
              </a:ext>
            </a:extLst>
          </p:cNvPr>
          <p:cNvGrpSpPr/>
          <p:nvPr/>
        </p:nvGrpSpPr>
        <p:grpSpPr>
          <a:xfrm>
            <a:off x="7421438" y="1403287"/>
            <a:ext cx="3994982" cy="3847939"/>
            <a:chOff x="7421438" y="796949"/>
            <a:chExt cx="3328289" cy="549536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64AB51F-5C75-470F-8D47-6733CEAB8910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349241C-B4E6-4E05-8DEB-0A4362E5E77B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5811DAC-A33C-4A27-B7EE-FD372D4C7B9E}"/>
              </a:ext>
            </a:extLst>
          </p:cNvPr>
          <p:cNvCxnSpPr>
            <a:cxnSpLocks/>
            <a:stCxn id="2" idx="3"/>
          </p:cNvCxnSpPr>
          <p:nvPr/>
        </p:nvCxnSpPr>
        <p:spPr>
          <a:xfrm>
            <a:off x="4364339" y="2563023"/>
            <a:ext cx="3972657" cy="442727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1FA8297A-5596-4FFE-82B4-7F80E24DA424}"/>
              </a:ext>
            </a:extLst>
          </p:cNvPr>
          <p:cNvGrpSpPr/>
          <p:nvPr/>
        </p:nvGrpSpPr>
        <p:grpSpPr>
          <a:xfrm>
            <a:off x="217283" y="996697"/>
            <a:ext cx="5460389" cy="5259248"/>
            <a:chOff x="196828" y="890805"/>
            <a:chExt cx="4523821" cy="549536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A25419-9613-4D6D-B201-A7601453CF05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855CBFC-D0D7-450E-B324-36DAE9C94A5B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4A916D1-F651-4156-AE99-FB1242D41218}"/>
              </a:ext>
            </a:extLst>
          </p:cNvPr>
          <p:cNvSpPr/>
          <p:nvPr/>
        </p:nvSpPr>
        <p:spPr>
          <a:xfrm>
            <a:off x="775580" y="4021404"/>
            <a:ext cx="4762123" cy="85129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600" dirty="0"/>
              <a:t>TemperatureInstrumentType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TE-H-47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DisplayLabel = Temperature Element with H Alarm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D418BF9-09A7-46A0-803E-DB0589451408}"/>
              </a:ext>
            </a:extLst>
          </p:cNvPr>
          <p:cNvCxnSpPr>
            <a:cxnSpLocks/>
            <a:stCxn id="2" idx="2"/>
            <a:endCxn id="42" idx="0"/>
          </p:cNvCxnSpPr>
          <p:nvPr/>
        </p:nvCxnSpPr>
        <p:spPr>
          <a:xfrm>
            <a:off x="3143204" y="3346216"/>
            <a:ext cx="13438" cy="67518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3FCC1AA3-563D-4FF8-8C8F-9B6FC75EDB9A}"/>
              </a:ext>
            </a:extLst>
          </p:cNvPr>
          <p:cNvSpPr txBox="1"/>
          <p:nvPr/>
        </p:nvSpPr>
        <p:spPr>
          <a:xfrm>
            <a:off x="3075125" y="3433310"/>
            <a:ext cx="9264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of type</a:t>
            </a:r>
          </a:p>
        </p:txBody>
      </p:sp>
    </p:spTree>
    <p:extLst>
      <p:ext uri="{BB962C8B-B14F-4D97-AF65-F5344CB8AC3E}">
        <p14:creationId xmlns:p14="http://schemas.microsoft.com/office/powerpoint/2010/main" val="21949785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ments model entiti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4CAFE99-CA6F-4F9B-ACA8-DF0B845BA336}"/>
              </a:ext>
            </a:extLst>
          </p:cNvPr>
          <p:cNvGrpSpPr/>
          <p:nvPr/>
        </p:nvGrpSpPr>
        <p:grpSpPr>
          <a:xfrm>
            <a:off x="7807273" y="2289097"/>
            <a:ext cx="2785890" cy="2589769"/>
            <a:chOff x="3053247" y="4030487"/>
            <a:chExt cx="2785890" cy="258976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8CCDEA8-A22F-483D-A05C-FCBF6FF636BD}"/>
                </a:ext>
              </a:extLst>
            </p:cNvPr>
            <p:cNvGrpSpPr/>
            <p:nvPr/>
          </p:nvGrpSpPr>
          <p:grpSpPr>
            <a:xfrm>
              <a:off x="3053247" y="4606226"/>
              <a:ext cx="1249060" cy="2014030"/>
              <a:chOff x="8253320" y="4014450"/>
              <a:chExt cx="1249060" cy="2014030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25CC75C-3A5F-4927-A329-5738BF2EE59A}"/>
                  </a:ext>
                </a:extLst>
              </p:cNvPr>
              <p:cNvSpPr/>
              <p:nvPr/>
            </p:nvSpPr>
            <p:spPr>
              <a:xfrm rot="16200000" flipV="1">
                <a:off x="7870835" y="4438509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860C39D-73E1-4C34-A933-8E62341FE25E}"/>
                  </a:ext>
                </a:extLst>
              </p:cNvPr>
              <p:cNvSpPr/>
              <p:nvPr/>
            </p:nvSpPr>
            <p:spPr>
              <a:xfrm rot="1800000">
                <a:off x="8253320" y="4698299"/>
                <a:ext cx="1249060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Function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0993D7-5A7B-47FA-995E-EE4418402F04}"/>
                </a:ext>
              </a:extLst>
            </p:cNvPr>
            <p:cNvGrpSpPr/>
            <p:nvPr/>
          </p:nvGrpSpPr>
          <p:grpSpPr>
            <a:xfrm>
              <a:off x="3249913" y="4030487"/>
              <a:ext cx="2014030" cy="1165911"/>
              <a:chOff x="8449986" y="3438711"/>
              <a:chExt cx="2014030" cy="1165911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5CA6CC5-F9E0-4F68-B877-A12CC12F5636}"/>
                  </a:ext>
                </a:extLst>
              </p:cNvPr>
              <p:cNvSpPr/>
              <p:nvPr/>
            </p:nvSpPr>
            <p:spPr>
              <a:xfrm rot="12600000" flipV="1">
                <a:off x="8449986" y="3438711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534D535-5633-420A-B6CD-41538DADE4C4}"/>
                  </a:ext>
                </a:extLst>
              </p:cNvPr>
              <p:cNvSpPr/>
              <p:nvPr/>
            </p:nvSpPr>
            <p:spPr>
              <a:xfrm>
                <a:off x="8935063" y="3682020"/>
                <a:ext cx="1043876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Physical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0DFF74A-CA1D-47E1-9ECF-3DFA7345B3C1}"/>
                </a:ext>
              </a:extLst>
            </p:cNvPr>
            <p:cNvGrpSpPr/>
            <p:nvPr/>
          </p:nvGrpSpPr>
          <p:grpSpPr>
            <a:xfrm>
              <a:off x="3825107" y="5033334"/>
              <a:ext cx="2014030" cy="1165911"/>
              <a:chOff x="9034416" y="4441558"/>
              <a:chExt cx="2014030" cy="1165911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B471B7C-7F0D-448D-9F59-A6847B56E3AD}"/>
                  </a:ext>
                </a:extLst>
              </p:cNvPr>
              <p:cNvSpPr/>
              <p:nvPr/>
            </p:nvSpPr>
            <p:spPr>
              <a:xfrm rot="19800000" flipV="1">
                <a:off x="9034416" y="4441558"/>
                <a:ext cx="2014030" cy="1165911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13336EC-DFA4-4A1C-AB63-0D40E06CD302}"/>
                  </a:ext>
                </a:extLst>
              </p:cNvPr>
              <p:cNvSpPr/>
              <p:nvPr/>
            </p:nvSpPr>
            <p:spPr>
              <a:xfrm rot="19800000">
                <a:off x="9660557" y="4701348"/>
                <a:ext cx="761747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Other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Entity</a:t>
                </a:r>
              </a:p>
            </p:txBody>
          </p:sp>
        </p:grp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FC42F3B-1130-4906-9A22-962EE7643718}"/>
              </a:ext>
            </a:extLst>
          </p:cNvPr>
          <p:cNvSpPr/>
          <p:nvPr/>
        </p:nvSpPr>
        <p:spPr>
          <a:xfrm>
            <a:off x="3146073" y="2567198"/>
            <a:ext cx="1730742" cy="374571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PhysicalElemen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DD3A02-0BDF-4F6D-8F81-0171326BFA18}"/>
              </a:ext>
            </a:extLst>
          </p:cNvPr>
          <p:cNvGrpSpPr/>
          <p:nvPr/>
        </p:nvGrpSpPr>
        <p:grpSpPr>
          <a:xfrm>
            <a:off x="7421438" y="1816762"/>
            <a:ext cx="3328289" cy="3434464"/>
            <a:chOff x="7421438" y="796949"/>
            <a:chExt cx="3328289" cy="549536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64AB51F-5C75-470F-8D47-6733CEAB8910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349241C-B4E6-4E05-8DEB-0A4362E5E77B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5811DAC-A33C-4A27-B7EE-FD372D4C7B9E}"/>
              </a:ext>
            </a:extLst>
          </p:cNvPr>
          <p:cNvCxnSpPr>
            <a:cxnSpLocks/>
            <a:stCxn id="2" idx="3"/>
          </p:cNvCxnSpPr>
          <p:nvPr/>
        </p:nvCxnSpPr>
        <p:spPr>
          <a:xfrm>
            <a:off x="4876815" y="2754484"/>
            <a:ext cx="3612201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79BD70B-F5DD-4314-826A-812AF45B710D}"/>
              </a:ext>
            </a:extLst>
          </p:cNvPr>
          <p:cNvSpPr txBox="1"/>
          <p:nvPr/>
        </p:nvSpPr>
        <p:spPr>
          <a:xfrm>
            <a:off x="5969116" y="241592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B833E5A-0598-44C0-9F14-EF32FEA0B86E}"/>
              </a:ext>
            </a:extLst>
          </p:cNvPr>
          <p:cNvSpPr/>
          <p:nvPr/>
        </p:nvSpPr>
        <p:spPr>
          <a:xfrm>
            <a:off x="3062028" y="3469791"/>
            <a:ext cx="1898832" cy="37457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FunctionalElement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1BFFA4-C649-48B9-85BF-E48BDCD46129}"/>
              </a:ext>
            </a:extLst>
          </p:cNvPr>
          <p:cNvCxnSpPr>
            <a:cxnSpLocks/>
            <a:stCxn id="39" idx="3"/>
          </p:cNvCxnSpPr>
          <p:nvPr/>
        </p:nvCxnSpPr>
        <p:spPr>
          <a:xfrm>
            <a:off x="4960860" y="3657077"/>
            <a:ext cx="3029843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63C3F04-FC01-42D8-86B2-03D07AB3C805}"/>
              </a:ext>
            </a:extLst>
          </p:cNvPr>
          <p:cNvSpPr txBox="1"/>
          <p:nvPr/>
        </p:nvSpPr>
        <p:spPr>
          <a:xfrm>
            <a:off x="5969116" y="3318522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C782C95-3478-464F-9C6B-43448E99F8A9}"/>
              </a:ext>
            </a:extLst>
          </p:cNvPr>
          <p:cNvCxnSpPr>
            <a:cxnSpLocks/>
            <a:stCxn id="39" idx="0"/>
            <a:endCxn id="2" idx="2"/>
          </p:cNvCxnSpPr>
          <p:nvPr/>
        </p:nvCxnSpPr>
        <p:spPr>
          <a:xfrm flipV="1">
            <a:off x="4011444" y="2941769"/>
            <a:ext cx="0" cy="528022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9C0CA07C-5A11-4C70-BF4D-DE551FB40688}"/>
              </a:ext>
            </a:extLst>
          </p:cNvPr>
          <p:cNvSpPr txBox="1"/>
          <p:nvPr/>
        </p:nvSpPr>
        <p:spPr>
          <a:xfrm>
            <a:off x="4021292" y="3064851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FA8297A-5596-4FFE-82B4-7F80E24DA424}"/>
              </a:ext>
            </a:extLst>
          </p:cNvPr>
          <p:cNvGrpSpPr/>
          <p:nvPr/>
        </p:nvGrpSpPr>
        <p:grpSpPr>
          <a:xfrm>
            <a:off x="2345217" y="1816762"/>
            <a:ext cx="3332455" cy="3434464"/>
            <a:chOff x="196828" y="890805"/>
            <a:chExt cx="4523821" cy="549536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A25419-9613-4D6D-B201-A7601453CF05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855CBFC-D0D7-450E-B324-36DAE9C94A5B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FD5942B7-C1BD-4214-AE31-281D2F370477}"/>
              </a:ext>
            </a:extLst>
          </p:cNvPr>
          <p:cNvSpPr/>
          <p:nvPr/>
        </p:nvSpPr>
        <p:spPr>
          <a:xfrm>
            <a:off x="855384" y="2079073"/>
            <a:ext cx="1043019" cy="513453"/>
          </a:xfrm>
          <a:prstGeom prst="wedgeRoundRectCallout">
            <a:avLst>
              <a:gd name="adj1" fmla="val 172748"/>
              <a:gd name="adj2" fmla="val 82280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The “lead” Element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032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4" grpId="0"/>
      <p:bldP spid="39" grpId="0" animBg="1"/>
      <p:bldP spid="41" grpId="0"/>
      <p:bldP spid="46" grpId="0"/>
      <p:bldP spid="35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2: More-Specialized Class, Different Typ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80993D7-5A7B-47FA-995E-EE4418402F04}"/>
              </a:ext>
            </a:extLst>
          </p:cNvPr>
          <p:cNvGrpSpPr/>
          <p:nvPr/>
        </p:nvGrpSpPr>
        <p:grpSpPr>
          <a:xfrm>
            <a:off x="8003939" y="2289097"/>
            <a:ext cx="2814952" cy="1558626"/>
            <a:chOff x="8449986" y="3438711"/>
            <a:chExt cx="2014030" cy="1165911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5CA6CC5-F9E0-4F68-B877-A12CC12F5636}"/>
                </a:ext>
              </a:extLst>
            </p:cNvPr>
            <p:cNvSpPr/>
            <p:nvPr/>
          </p:nvSpPr>
          <p:spPr>
            <a:xfrm rot="12600000" flipV="1">
              <a:off x="8449986" y="3438711"/>
              <a:ext cx="2014030" cy="1165911"/>
            </a:xfrm>
            <a:custGeom>
              <a:avLst/>
              <a:gdLst>
                <a:gd name="connsiteX0" fmla="*/ 2014030 w 2014030"/>
                <a:gd name="connsiteY0" fmla="*/ 1162800 h 1165911"/>
                <a:gd name="connsiteX1" fmla="*/ 1341409 w 2014030"/>
                <a:gd name="connsiteY1" fmla="*/ 3109 h 1165911"/>
                <a:gd name="connsiteX2" fmla="*/ 1341666 w 2014030"/>
                <a:gd name="connsiteY2" fmla="*/ 2662 h 1165911"/>
                <a:gd name="connsiteX3" fmla="*/ 1341150 w 2014030"/>
                <a:gd name="connsiteY3" fmla="*/ 2661 h 1165911"/>
                <a:gd name="connsiteX4" fmla="*/ 1340891 w 2014030"/>
                <a:gd name="connsiteY4" fmla="*/ 2215 h 1165911"/>
                <a:gd name="connsiteX5" fmla="*/ 1340633 w 2014030"/>
                <a:gd name="connsiteY5" fmla="*/ 2660 h 1165911"/>
                <a:gd name="connsiteX6" fmla="*/ 0 w 2014030"/>
                <a:gd name="connsiteY6" fmla="*/ 0 h 1165911"/>
                <a:gd name="connsiteX7" fmla="*/ 669551 w 2014030"/>
                <a:gd name="connsiteY7" fmla="*/ 1159696 h 1165911"/>
                <a:gd name="connsiteX8" fmla="*/ 667751 w 2014030"/>
                <a:gd name="connsiteY8" fmla="*/ 1162800 h 1165911"/>
                <a:gd name="connsiteX9" fmla="*/ 671343 w 2014030"/>
                <a:gd name="connsiteY9" fmla="*/ 1162800 h 1165911"/>
                <a:gd name="connsiteX10" fmla="*/ 673139 w 2014030"/>
                <a:gd name="connsiteY10" fmla="*/ 1165911 h 1165911"/>
                <a:gd name="connsiteX11" fmla="*/ 674927 w 2014030"/>
                <a:gd name="connsiteY11" fmla="*/ 1162800 h 1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030" h="1165911">
                  <a:moveTo>
                    <a:pt x="2014030" y="1162800"/>
                  </a:moveTo>
                  <a:lnTo>
                    <a:pt x="1341409" y="3109"/>
                  </a:lnTo>
                  <a:lnTo>
                    <a:pt x="1341666" y="2662"/>
                  </a:lnTo>
                  <a:lnTo>
                    <a:pt x="1341150" y="2661"/>
                  </a:lnTo>
                  <a:lnTo>
                    <a:pt x="1340891" y="2215"/>
                  </a:lnTo>
                  <a:lnTo>
                    <a:pt x="1340633" y="2660"/>
                  </a:lnTo>
                  <a:lnTo>
                    <a:pt x="0" y="0"/>
                  </a:lnTo>
                  <a:lnTo>
                    <a:pt x="669551" y="1159696"/>
                  </a:lnTo>
                  <a:lnTo>
                    <a:pt x="667751" y="1162800"/>
                  </a:lnTo>
                  <a:lnTo>
                    <a:pt x="671343" y="1162800"/>
                  </a:lnTo>
                  <a:lnTo>
                    <a:pt x="673139" y="1165911"/>
                  </a:lnTo>
                  <a:lnTo>
                    <a:pt x="674927" y="11628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534D535-5633-420A-B6CD-41538DADE4C4}"/>
                </a:ext>
              </a:extLst>
            </p:cNvPr>
            <p:cNvSpPr/>
            <p:nvPr/>
          </p:nvSpPr>
          <p:spPr>
            <a:xfrm>
              <a:off x="8788552" y="3682020"/>
              <a:ext cx="1336904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Temperature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Element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with H Alarm</a:t>
              </a:r>
            </a:p>
          </p:txBody>
        </p: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FC42F3B-1130-4906-9A22-962EE7643718}"/>
              </a:ext>
            </a:extLst>
          </p:cNvPr>
          <p:cNvSpPr/>
          <p:nvPr/>
        </p:nvSpPr>
        <p:spPr>
          <a:xfrm>
            <a:off x="1986960" y="1660649"/>
            <a:ext cx="2312489" cy="180474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600" dirty="0"/>
              <a:t>TemperatureElement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ElementID = 23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FedGUID = abd523f7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TI-003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A = 12.1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B = 97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Alarm = H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DD3A02-0BDF-4F6D-8F81-0171326BFA18}"/>
              </a:ext>
            </a:extLst>
          </p:cNvPr>
          <p:cNvGrpSpPr/>
          <p:nvPr/>
        </p:nvGrpSpPr>
        <p:grpSpPr>
          <a:xfrm>
            <a:off x="7421438" y="1403287"/>
            <a:ext cx="3994982" cy="3847939"/>
            <a:chOff x="7421438" y="796949"/>
            <a:chExt cx="3328289" cy="549536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64AB51F-5C75-470F-8D47-6733CEAB8910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349241C-B4E6-4E05-8DEB-0A4362E5E77B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5811DAC-A33C-4A27-B7EE-FD372D4C7B9E}"/>
              </a:ext>
            </a:extLst>
          </p:cNvPr>
          <p:cNvCxnSpPr>
            <a:cxnSpLocks/>
            <a:stCxn id="2" idx="3"/>
          </p:cNvCxnSpPr>
          <p:nvPr/>
        </p:nvCxnSpPr>
        <p:spPr>
          <a:xfrm>
            <a:off x="4299449" y="2563024"/>
            <a:ext cx="4037547" cy="442726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1FA8297A-5596-4FFE-82B4-7F80E24DA424}"/>
              </a:ext>
            </a:extLst>
          </p:cNvPr>
          <p:cNvGrpSpPr/>
          <p:nvPr/>
        </p:nvGrpSpPr>
        <p:grpSpPr>
          <a:xfrm>
            <a:off x="217283" y="996697"/>
            <a:ext cx="5460389" cy="5259248"/>
            <a:chOff x="196828" y="890805"/>
            <a:chExt cx="4523821" cy="5495363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51A25419-9613-4D6D-B201-A7601453CF05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855CBFC-D0D7-450E-B324-36DAE9C94A5B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4A916D1-F651-4156-AE99-FB1242D41218}"/>
              </a:ext>
            </a:extLst>
          </p:cNvPr>
          <p:cNvSpPr/>
          <p:nvPr/>
        </p:nvSpPr>
        <p:spPr>
          <a:xfrm>
            <a:off x="775580" y="4021404"/>
            <a:ext cx="4762123" cy="85129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600" dirty="0"/>
              <a:t>TemperatureElementType</a:t>
            </a:r>
          </a:p>
          <a:p>
            <a:pPr marL="91440" indent="-91440" algn="ctr">
              <a:buFontTx/>
              <a:buChar char="-"/>
            </a:pPr>
            <a:r>
              <a:rPr lang="en-US" sz="1400" dirty="0">
                <a:solidFill>
                  <a:schemeClr val="bg1"/>
                </a:solidFill>
              </a:rPr>
              <a:t>Code = TE-H-47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DisplayLabel = Temperature Element with H Alarm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D418BF9-09A7-46A0-803E-DB0589451408}"/>
              </a:ext>
            </a:extLst>
          </p:cNvPr>
          <p:cNvCxnSpPr>
            <a:cxnSpLocks/>
            <a:stCxn id="2" idx="2"/>
            <a:endCxn id="42" idx="0"/>
          </p:cNvCxnSpPr>
          <p:nvPr/>
        </p:nvCxnSpPr>
        <p:spPr>
          <a:xfrm>
            <a:off x="3143205" y="3465398"/>
            <a:ext cx="13437" cy="55600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3FCC1AA3-563D-4FF8-8C8F-9B6FC75EDB9A}"/>
              </a:ext>
            </a:extLst>
          </p:cNvPr>
          <p:cNvSpPr txBox="1"/>
          <p:nvPr/>
        </p:nvSpPr>
        <p:spPr>
          <a:xfrm>
            <a:off x="3075125" y="3433310"/>
            <a:ext cx="9264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of type</a:t>
            </a:r>
          </a:p>
        </p:txBody>
      </p:sp>
      <p:sp>
        <p:nvSpPr>
          <p:cNvPr id="17" name="Speech Bubble: Rectangle with Corners Rounded 16">
            <a:extLst>
              <a:ext uri="{FF2B5EF4-FFF2-40B4-BE49-F238E27FC236}">
                <a16:creationId xmlns:a16="http://schemas.microsoft.com/office/drawing/2014/main" id="{61360350-4222-462B-ACD0-42004FCBB4DF}"/>
              </a:ext>
            </a:extLst>
          </p:cNvPr>
          <p:cNvSpPr/>
          <p:nvPr/>
        </p:nvSpPr>
        <p:spPr>
          <a:xfrm>
            <a:off x="126749" y="2568159"/>
            <a:ext cx="1719556" cy="897239"/>
          </a:xfrm>
          <a:prstGeom prst="wedgeRoundRectCallout">
            <a:avLst>
              <a:gd name="adj1" fmla="val 90902"/>
              <a:gd name="adj2" fmla="val -48370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hould Code have changed?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A: It is a business decision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Speech Bubble: Rectangle with Corners Rounded 17">
            <a:extLst>
              <a:ext uri="{FF2B5EF4-FFF2-40B4-BE49-F238E27FC236}">
                <a16:creationId xmlns:a16="http://schemas.microsoft.com/office/drawing/2014/main" id="{A54EF7E8-6797-4006-9DDD-5E69036C5375}"/>
              </a:ext>
            </a:extLst>
          </p:cNvPr>
          <p:cNvSpPr/>
          <p:nvPr/>
        </p:nvSpPr>
        <p:spPr>
          <a:xfrm>
            <a:off x="126749" y="1616720"/>
            <a:ext cx="1846306" cy="775249"/>
          </a:xfrm>
          <a:prstGeom prst="wedgeRoundRectCallout">
            <a:avLst>
              <a:gd name="adj1" fmla="val 75593"/>
              <a:gd name="adj2" fmla="val 21740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We </a:t>
            </a:r>
            <a:r>
              <a:rPr lang="en-US" sz="1400" b="1" u="sng" dirty="0">
                <a:solidFill>
                  <a:schemeClr val="tx1"/>
                </a:solidFill>
              </a:rPr>
              <a:t>should</a:t>
            </a:r>
            <a:r>
              <a:rPr lang="en-US" sz="1400" dirty="0">
                <a:solidFill>
                  <a:schemeClr val="tx1"/>
                </a:solidFill>
              </a:rPr>
              <a:t> be able to keep ElementID the same…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4666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52C2B6-B75B-44A1-B19B-C3568A115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ing Concep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BFB6A9-F62F-45CE-AB08-11F9E142C6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lements model Entities</a:t>
            </a:r>
          </a:p>
          <a:p>
            <a:r>
              <a:rPr lang="en-US" dirty="0"/>
              <a:t>Elements can have child Elements (to model in greater detail)</a:t>
            </a:r>
          </a:p>
          <a:p>
            <a:r>
              <a:rPr lang="en-US" dirty="0"/>
              <a:t>A Model is a collection of Elements (sharing common Perspective)</a:t>
            </a:r>
          </a:p>
          <a:p>
            <a:r>
              <a:rPr lang="en-US" dirty="0"/>
              <a:t>What is the Model modeling? A: Something bigger</a:t>
            </a:r>
          </a:p>
          <a:p>
            <a:r>
              <a:rPr lang="en-US" dirty="0"/>
              <a:t>Where does it stop? A: At the RepositoryModel</a:t>
            </a:r>
          </a:p>
          <a:p>
            <a:r>
              <a:rPr lang="en-US" dirty="0"/>
              <a:t>It goes down, too… Breakdown Models</a:t>
            </a:r>
          </a:p>
        </p:txBody>
      </p:sp>
    </p:spTree>
    <p:extLst>
      <p:ext uri="{BB962C8B-B14F-4D97-AF65-F5344CB8AC3E}">
        <p14:creationId xmlns:p14="http://schemas.microsoft.com/office/powerpoint/2010/main" val="223022302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512272BD-217E-41FF-9740-FB825042F742}"/>
              </a:ext>
            </a:extLst>
          </p:cNvPr>
          <p:cNvGrpSpPr/>
          <p:nvPr/>
        </p:nvGrpSpPr>
        <p:grpSpPr>
          <a:xfrm>
            <a:off x="8494874" y="2542565"/>
            <a:ext cx="1181417" cy="1114886"/>
            <a:chOff x="8990086" y="2542565"/>
            <a:chExt cx="1181417" cy="1114886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E4CDD1D-5E6E-4C66-A448-3435D2CA6987}"/>
                </a:ext>
              </a:extLst>
            </p:cNvPr>
            <p:cNvGrpSpPr/>
            <p:nvPr/>
          </p:nvGrpSpPr>
          <p:grpSpPr>
            <a:xfrm>
              <a:off x="8990086" y="2542565"/>
              <a:ext cx="1181417" cy="1114886"/>
              <a:chOff x="3094823" y="4030487"/>
              <a:chExt cx="2744314" cy="2589768"/>
            </a:xfrm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5EB7B1ED-A4ED-46AF-AF09-B94D267218FE}"/>
                  </a:ext>
                </a:extLst>
              </p:cNvPr>
              <p:cNvSpPr/>
              <p:nvPr/>
            </p:nvSpPr>
            <p:spPr>
              <a:xfrm rot="16200000" flipV="1">
                <a:off x="2670763" y="5030286"/>
                <a:ext cx="2014029" cy="1165910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C1842003-0AA3-41C0-83FC-15D261F42E55}"/>
                  </a:ext>
                </a:extLst>
              </p:cNvPr>
              <p:cNvSpPr/>
              <p:nvPr/>
            </p:nvSpPr>
            <p:spPr>
              <a:xfrm rot="12600000" flipV="1">
                <a:off x="3249914" y="4030487"/>
                <a:ext cx="2014029" cy="1165912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CC04330-B116-4BD9-88D7-A32D57F94594}"/>
                  </a:ext>
                </a:extLst>
              </p:cNvPr>
              <p:cNvSpPr/>
              <p:nvPr/>
            </p:nvSpPr>
            <p:spPr>
              <a:xfrm rot="19800000" flipV="1">
                <a:off x="3825108" y="5033334"/>
                <a:ext cx="2014029" cy="1165912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9220913-9C4F-4F8A-AB5F-4D87DE577510}"/>
                </a:ext>
              </a:extLst>
            </p:cNvPr>
            <p:cNvSpPr txBox="1"/>
            <p:nvPr/>
          </p:nvSpPr>
          <p:spPr>
            <a:xfrm>
              <a:off x="9308595" y="2607589"/>
              <a:ext cx="3173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concise visuals…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FC42F3B-1130-4906-9A22-962EE7643718}"/>
              </a:ext>
            </a:extLst>
          </p:cNvPr>
          <p:cNvSpPr/>
          <p:nvPr/>
        </p:nvSpPr>
        <p:spPr>
          <a:xfrm>
            <a:off x="3785352" y="2635852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5811DAC-A33C-4A27-B7EE-FD372D4C7B9E}"/>
              </a:ext>
            </a:extLst>
          </p:cNvPr>
          <p:cNvCxnSpPr>
            <a:cxnSpLocks/>
            <a:stCxn id="2" idx="3"/>
            <a:endCxn id="33" idx="1"/>
          </p:cNvCxnSpPr>
          <p:nvPr/>
        </p:nvCxnSpPr>
        <p:spPr>
          <a:xfrm>
            <a:off x="4237537" y="2789086"/>
            <a:ext cx="4575846" cy="3169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79BD70B-F5DD-4314-826A-812AF45B710D}"/>
              </a:ext>
            </a:extLst>
          </p:cNvPr>
          <p:cNvSpPr txBox="1"/>
          <p:nvPr/>
        </p:nvSpPr>
        <p:spPr>
          <a:xfrm>
            <a:off x="5867459" y="2415929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B833E5A-0598-44C0-9F14-EF32FEA0B86E}"/>
              </a:ext>
            </a:extLst>
          </p:cNvPr>
          <p:cNvSpPr/>
          <p:nvPr/>
        </p:nvSpPr>
        <p:spPr>
          <a:xfrm>
            <a:off x="3789631" y="3503843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1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1BFFA4-C649-48B9-85BF-E48BDCD46129}"/>
              </a:ext>
            </a:extLst>
          </p:cNvPr>
          <p:cNvCxnSpPr>
            <a:cxnSpLocks/>
            <a:stCxn id="39" idx="3"/>
          </p:cNvCxnSpPr>
          <p:nvPr/>
        </p:nvCxnSpPr>
        <p:spPr>
          <a:xfrm flipV="1">
            <a:off x="4233258" y="3227623"/>
            <a:ext cx="4508600" cy="429454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63C3F04-FC01-42D8-86B2-03D07AB3C805}"/>
              </a:ext>
            </a:extLst>
          </p:cNvPr>
          <p:cNvSpPr txBox="1"/>
          <p:nvPr/>
        </p:nvSpPr>
        <p:spPr>
          <a:xfrm rot="21377125">
            <a:off x="5916625" y="3139741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model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C782C95-3478-464F-9C6B-43448E99F8A9}"/>
              </a:ext>
            </a:extLst>
          </p:cNvPr>
          <p:cNvCxnSpPr>
            <a:cxnSpLocks/>
            <a:stCxn id="39" idx="0"/>
            <a:endCxn id="2" idx="2"/>
          </p:cNvCxnSpPr>
          <p:nvPr/>
        </p:nvCxnSpPr>
        <p:spPr>
          <a:xfrm flipV="1">
            <a:off x="4011445" y="2942319"/>
            <a:ext cx="0" cy="561524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9C0CA07C-5A11-4C70-BF4D-DE551FB40688}"/>
              </a:ext>
            </a:extLst>
          </p:cNvPr>
          <p:cNvSpPr txBox="1"/>
          <p:nvPr/>
        </p:nvSpPr>
        <p:spPr>
          <a:xfrm>
            <a:off x="3998074" y="3064851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A11D7CA-FDDD-4F2C-B016-9BDA8DAD4E95}"/>
              </a:ext>
            </a:extLst>
          </p:cNvPr>
          <p:cNvGrpSpPr/>
          <p:nvPr/>
        </p:nvGrpSpPr>
        <p:grpSpPr>
          <a:xfrm>
            <a:off x="7421438" y="1816762"/>
            <a:ext cx="3328289" cy="3434464"/>
            <a:chOff x="7421438" y="796949"/>
            <a:chExt cx="3328289" cy="5495363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EA6E688-7008-404C-9912-92137945C028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155E967-754C-4629-BBC3-3F54BBB4D2D8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C7B7A8F-B475-42B8-AFFD-55411763AED0}"/>
              </a:ext>
            </a:extLst>
          </p:cNvPr>
          <p:cNvGrpSpPr/>
          <p:nvPr/>
        </p:nvGrpSpPr>
        <p:grpSpPr>
          <a:xfrm>
            <a:off x="2345217" y="1816762"/>
            <a:ext cx="3332455" cy="3434464"/>
            <a:chOff x="196828" y="890805"/>
            <a:chExt cx="4523821" cy="5495363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3F291F8D-8F93-4EF4-84D4-2A4599A8DE2C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187BC80-9861-4562-9482-802FB2E4F662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995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71FA75EC-3EB7-4D1B-A710-4AD719717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concise visuals…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C0CA07C-5A11-4C70-BF4D-DE551FB40688}"/>
              </a:ext>
            </a:extLst>
          </p:cNvPr>
          <p:cNvSpPr txBox="1"/>
          <p:nvPr/>
        </p:nvSpPr>
        <p:spPr>
          <a:xfrm>
            <a:off x="3537497" y="2939575"/>
            <a:ext cx="14878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ulfilled by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718A0E6-091A-45D0-BF4D-A04D6EBE660B}"/>
              </a:ext>
            </a:extLst>
          </p:cNvPr>
          <p:cNvSpPr/>
          <p:nvPr/>
        </p:nvSpPr>
        <p:spPr>
          <a:xfrm>
            <a:off x="4777029" y="3109317"/>
            <a:ext cx="452185" cy="30646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P-1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AA2ACD2-2FC1-4B7D-97E4-147EE5F08CC2}"/>
              </a:ext>
            </a:extLst>
          </p:cNvPr>
          <p:cNvSpPr/>
          <p:nvPr/>
        </p:nvSpPr>
        <p:spPr>
          <a:xfrm>
            <a:off x="2959917" y="3109317"/>
            <a:ext cx="443627" cy="3064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200" dirty="0"/>
              <a:t>F-1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9050603-5A4E-41B5-ACD6-0DA602005F49}"/>
              </a:ext>
            </a:extLst>
          </p:cNvPr>
          <p:cNvGrpSpPr/>
          <p:nvPr/>
        </p:nvGrpSpPr>
        <p:grpSpPr>
          <a:xfrm>
            <a:off x="8494874" y="2542565"/>
            <a:ext cx="1181417" cy="1114886"/>
            <a:chOff x="8990086" y="2542565"/>
            <a:chExt cx="1181417" cy="1114886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4CAFE99-CA6F-4F9B-ACA8-DF0B845BA336}"/>
                </a:ext>
              </a:extLst>
            </p:cNvPr>
            <p:cNvGrpSpPr/>
            <p:nvPr/>
          </p:nvGrpSpPr>
          <p:grpSpPr>
            <a:xfrm>
              <a:off x="8990086" y="2542565"/>
              <a:ext cx="1181417" cy="1114886"/>
              <a:chOff x="3094823" y="4030487"/>
              <a:chExt cx="2744314" cy="2589768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25CC75C-3A5F-4927-A329-5738BF2EE59A}"/>
                  </a:ext>
                </a:extLst>
              </p:cNvPr>
              <p:cNvSpPr/>
              <p:nvPr/>
            </p:nvSpPr>
            <p:spPr>
              <a:xfrm rot="16200000" flipV="1">
                <a:off x="2670763" y="5030286"/>
                <a:ext cx="2014029" cy="1165910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5CA6CC5-F9E0-4F68-B877-A12CC12F5636}"/>
                  </a:ext>
                </a:extLst>
              </p:cNvPr>
              <p:cNvSpPr/>
              <p:nvPr/>
            </p:nvSpPr>
            <p:spPr>
              <a:xfrm rot="12600000" flipV="1">
                <a:off x="3249914" y="4030487"/>
                <a:ext cx="2014029" cy="1165912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B471B7C-7F0D-448D-9F59-A6847B56E3AD}"/>
                  </a:ext>
                </a:extLst>
              </p:cNvPr>
              <p:cNvSpPr/>
              <p:nvPr/>
            </p:nvSpPr>
            <p:spPr>
              <a:xfrm rot="19800000" flipV="1">
                <a:off x="3825108" y="5033334"/>
                <a:ext cx="2014029" cy="1165912"/>
              </a:xfrm>
              <a:custGeom>
                <a:avLst/>
                <a:gdLst>
                  <a:gd name="connsiteX0" fmla="*/ 2014030 w 2014030"/>
                  <a:gd name="connsiteY0" fmla="*/ 1162800 h 1165911"/>
                  <a:gd name="connsiteX1" fmla="*/ 1341409 w 2014030"/>
                  <a:gd name="connsiteY1" fmla="*/ 3109 h 1165911"/>
                  <a:gd name="connsiteX2" fmla="*/ 1341666 w 2014030"/>
                  <a:gd name="connsiteY2" fmla="*/ 2662 h 1165911"/>
                  <a:gd name="connsiteX3" fmla="*/ 1341150 w 2014030"/>
                  <a:gd name="connsiteY3" fmla="*/ 2661 h 1165911"/>
                  <a:gd name="connsiteX4" fmla="*/ 1340891 w 2014030"/>
                  <a:gd name="connsiteY4" fmla="*/ 2215 h 1165911"/>
                  <a:gd name="connsiteX5" fmla="*/ 1340633 w 2014030"/>
                  <a:gd name="connsiteY5" fmla="*/ 2660 h 1165911"/>
                  <a:gd name="connsiteX6" fmla="*/ 0 w 2014030"/>
                  <a:gd name="connsiteY6" fmla="*/ 0 h 1165911"/>
                  <a:gd name="connsiteX7" fmla="*/ 669551 w 2014030"/>
                  <a:gd name="connsiteY7" fmla="*/ 1159696 h 1165911"/>
                  <a:gd name="connsiteX8" fmla="*/ 667751 w 2014030"/>
                  <a:gd name="connsiteY8" fmla="*/ 1162800 h 1165911"/>
                  <a:gd name="connsiteX9" fmla="*/ 671343 w 2014030"/>
                  <a:gd name="connsiteY9" fmla="*/ 1162800 h 1165911"/>
                  <a:gd name="connsiteX10" fmla="*/ 673139 w 2014030"/>
                  <a:gd name="connsiteY10" fmla="*/ 1165911 h 1165911"/>
                  <a:gd name="connsiteX11" fmla="*/ 674927 w 2014030"/>
                  <a:gd name="connsiteY11" fmla="*/ 1162800 h 116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4030" h="1165911">
                    <a:moveTo>
                      <a:pt x="2014030" y="1162800"/>
                    </a:moveTo>
                    <a:lnTo>
                      <a:pt x="1341409" y="3109"/>
                    </a:lnTo>
                    <a:lnTo>
                      <a:pt x="1341666" y="2662"/>
                    </a:lnTo>
                    <a:lnTo>
                      <a:pt x="1341150" y="2661"/>
                    </a:lnTo>
                    <a:lnTo>
                      <a:pt x="1340891" y="2215"/>
                    </a:lnTo>
                    <a:lnTo>
                      <a:pt x="1340633" y="2660"/>
                    </a:lnTo>
                    <a:lnTo>
                      <a:pt x="0" y="0"/>
                    </a:lnTo>
                    <a:lnTo>
                      <a:pt x="669551" y="1159696"/>
                    </a:lnTo>
                    <a:lnTo>
                      <a:pt x="667751" y="1162800"/>
                    </a:lnTo>
                    <a:lnTo>
                      <a:pt x="671343" y="1162800"/>
                    </a:lnTo>
                    <a:lnTo>
                      <a:pt x="673139" y="1165911"/>
                    </a:lnTo>
                    <a:lnTo>
                      <a:pt x="674927" y="11628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926307A-C3AB-4404-A6CA-EB369F8B6F7A}"/>
                </a:ext>
              </a:extLst>
            </p:cNvPr>
            <p:cNvSpPr txBox="1"/>
            <p:nvPr/>
          </p:nvSpPr>
          <p:spPr>
            <a:xfrm>
              <a:off x="9308595" y="2607589"/>
              <a:ext cx="3173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E1EB5E88-0B53-4A19-B00E-52AB44586150}"/>
              </a:ext>
            </a:extLst>
          </p:cNvPr>
          <p:cNvCxnSpPr>
            <a:cxnSpLocks/>
            <a:stCxn id="49" idx="3"/>
            <a:endCxn id="45" idx="1"/>
          </p:cNvCxnSpPr>
          <p:nvPr/>
        </p:nvCxnSpPr>
        <p:spPr>
          <a:xfrm>
            <a:off x="3403544" y="3262551"/>
            <a:ext cx="1373485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C866E88-75B6-4C0B-AFAD-1B824AFD474E}"/>
              </a:ext>
            </a:extLst>
          </p:cNvPr>
          <p:cNvGrpSpPr/>
          <p:nvPr/>
        </p:nvGrpSpPr>
        <p:grpSpPr>
          <a:xfrm>
            <a:off x="7421438" y="1816762"/>
            <a:ext cx="3328289" cy="3434464"/>
            <a:chOff x="7421438" y="796949"/>
            <a:chExt cx="3328289" cy="5495363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98C066DA-250E-4437-86C1-AF64A233EAEC}"/>
                </a:ext>
              </a:extLst>
            </p:cNvPr>
            <p:cNvSpPr/>
            <p:nvPr/>
          </p:nvSpPr>
          <p:spPr>
            <a:xfrm>
              <a:off x="7421438" y="802967"/>
              <a:ext cx="3328289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3E52AA8-9A4A-44B7-B43F-F63A27E03544}"/>
                </a:ext>
              </a:extLst>
            </p:cNvPr>
            <p:cNvSpPr txBox="1"/>
            <p:nvPr/>
          </p:nvSpPr>
          <p:spPr>
            <a:xfrm>
              <a:off x="8341664" y="796949"/>
              <a:ext cx="148783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Real World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3597E8-1E3B-4CA0-A995-03F60D28168E}"/>
              </a:ext>
            </a:extLst>
          </p:cNvPr>
          <p:cNvGrpSpPr/>
          <p:nvPr/>
        </p:nvGrpSpPr>
        <p:grpSpPr>
          <a:xfrm>
            <a:off x="2345217" y="1816762"/>
            <a:ext cx="3332455" cy="3434464"/>
            <a:chOff x="196828" y="890805"/>
            <a:chExt cx="4523821" cy="5495363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195C18D-6B87-4ECF-BC58-B34D2EA834E8}"/>
                </a:ext>
              </a:extLst>
            </p:cNvPr>
            <p:cNvSpPr/>
            <p:nvPr/>
          </p:nvSpPr>
          <p:spPr>
            <a:xfrm>
              <a:off x="196828" y="896823"/>
              <a:ext cx="4523821" cy="5489345"/>
            </a:xfrm>
            <a:prstGeom prst="roundRect">
              <a:avLst>
                <a:gd name="adj" fmla="val 464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80F364F-9613-4703-B74A-1BD62D63F41B}"/>
                </a:ext>
              </a:extLst>
            </p:cNvPr>
            <p:cNvSpPr txBox="1"/>
            <p:nvPr/>
          </p:nvSpPr>
          <p:spPr>
            <a:xfrm>
              <a:off x="1405297" y="890805"/>
              <a:ext cx="210688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/>
                <a:t>BIS Reposit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69851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ody Slides Master">
  <a:themeElements>
    <a:clrScheme name="Bentley Palette">
      <a:dk1>
        <a:srgbClr val="002A44"/>
      </a:dk1>
      <a:lt1>
        <a:srgbClr val="FFFFFF"/>
      </a:lt1>
      <a:dk2>
        <a:srgbClr val="000000"/>
      </a:dk2>
      <a:lt2>
        <a:srgbClr val="FFFFFF"/>
      </a:lt2>
      <a:accent1>
        <a:srgbClr val="55A51C"/>
      </a:accent1>
      <a:accent2>
        <a:srgbClr val="A6AFB7"/>
      </a:accent2>
      <a:accent3>
        <a:srgbClr val="038ADB"/>
      </a:accent3>
      <a:accent4>
        <a:srgbClr val="004E7E"/>
      </a:accent4>
      <a:accent5>
        <a:srgbClr val="7ABF6F"/>
      </a:accent5>
      <a:accent6>
        <a:srgbClr val="BFC5CB"/>
      </a:accent6>
      <a:hlink>
        <a:srgbClr val="038ADB"/>
      </a:hlink>
      <a:folHlink>
        <a:srgbClr val="AE81C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899</TotalTime>
  <Words>3274</Words>
  <Application>Microsoft Office PowerPoint</Application>
  <PresentationFormat>Widescreen</PresentationFormat>
  <Paragraphs>1344</Paragraphs>
  <Slides>71</Slides>
  <Notes>38</Notes>
  <HiddenSlides>9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1</vt:i4>
      </vt:variant>
    </vt:vector>
  </HeadingPairs>
  <TitlesOfParts>
    <vt:vector size="79" baseType="lpstr">
      <vt:lpstr>Arial</vt:lpstr>
      <vt:lpstr>Calibri</vt:lpstr>
      <vt:lpstr>Calibri Light</vt:lpstr>
      <vt:lpstr>Courier New</vt:lpstr>
      <vt:lpstr>Office Theme</vt:lpstr>
      <vt:lpstr>Body Slides Master</vt:lpstr>
      <vt:lpstr>1_Office Theme</vt:lpstr>
      <vt:lpstr>think-cell Folie</vt:lpstr>
      <vt:lpstr>Modeling with BIS</vt:lpstr>
      <vt:lpstr>BIS Modeling</vt:lpstr>
      <vt:lpstr>Start with the real world…</vt:lpstr>
      <vt:lpstr>Break the Real-World Object into Entities (Each “Entity” is from a different Modeling Perspective)</vt:lpstr>
      <vt:lpstr>Break the Object into Entities (Each “Entity” is from a different Modeling Perspective)</vt:lpstr>
      <vt:lpstr>As many Entities as you need…</vt:lpstr>
      <vt:lpstr>Elements model entities</vt:lpstr>
      <vt:lpstr>More concise visuals…</vt:lpstr>
      <vt:lpstr>More concise visuals…</vt:lpstr>
      <vt:lpstr>Models are collections of Elements</vt:lpstr>
      <vt:lpstr>Models sub-model “larger” Elements</vt:lpstr>
      <vt:lpstr>Modeling an Object at multiple granularities in one BIS Repository</vt:lpstr>
      <vt:lpstr>Where does it stop?</vt:lpstr>
      <vt:lpstr>PowerPoint Presentation</vt:lpstr>
      <vt:lpstr>PowerPoint Presentation</vt:lpstr>
      <vt:lpstr>The RepositoryModel is the Table-of-Contents of the BIS Repository</vt:lpstr>
      <vt:lpstr>The RepositoryModel is the Table-of-Contents of the BIS Repository</vt:lpstr>
      <vt:lpstr>ElementHasChildElement Relationships</vt:lpstr>
      <vt:lpstr>Multiple Granularities ad infinitum</vt:lpstr>
      <vt:lpstr>Not all real-world Objects are physical..</vt:lpstr>
      <vt:lpstr>Identification of Entities and Elements</vt:lpstr>
      <vt:lpstr>Identification of Entities and Elements</vt:lpstr>
      <vt:lpstr>Identifiers captured in the Element</vt:lpstr>
      <vt:lpstr>Codes</vt:lpstr>
      <vt:lpstr>BIS Modeling Summary</vt:lpstr>
      <vt:lpstr>THE END</vt:lpstr>
      <vt:lpstr>PowerPoint Presentation</vt:lpstr>
      <vt:lpstr>PowerPoint Presentation</vt:lpstr>
      <vt:lpstr>Identification of Entities and Elements</vt:lpstr>
      <vt:lpstr>Whole-Part in the physical world</vt:lpstr>
      <vt:lpstr>How to model a real-world Entity</vt:lpstr>
      <vt:lpstr>How to model a real-world Entity</vt:lpstr>
      <vt:lpstr>3D Modeling Perspectives</vt:lpstr>
      <vt:lpstr>3D Modeling Perspectives</vt:lpstr>
      <vt:lpstr>3D Modeling Perspectives</vt:lpstr>
      <vt:lpstr>3D Modeling Perspectives</vt:lpstr>
      <vt:lpstr>Physical Hierarchy Stereotypes</vt:lpstr>
      <vt:lpstr>PowerPoint Presentation</vt:lpstr>
      <vt:lpstr>Physical Hierarchy Stereotypes</vt:lpstr>
      <vt:lpstr>Physical Hierarchy Stereotypes</vt:lpstr>
      <vt:lpstr>UNICLASS</vt:lpstr>
      <vt:lpstr>Physical Hierarchy Stereotypes</vt:lpstr>
      <vt:lpstr>Physical Hierarchy Stereotypes</vt:lpstr>
      <vt:lpstr>Physical Hierarchy Stereotypes</vt:lpstr>
      <vt:lpstr>PowerPoint Presentation</vt:lpstr>
      <vt:lpstr>PowerPoint Presentation</vt:lpstr>
      <vt:lpstr>PowerPoint Presentation</vt:lpstr>
      <vt:lpstr>IFC</vt:lpstr>
      <vt:lpstr>Spatial/Physical Hierarchy</vt:lpstr>
      <vt:lpstr>BIS Mereology</vt:lpstr>
      <vt:lpstr>UNICLASS</vt:lpstr>
      <vt:lpstr>UNICLASS</vt:lpstr>
      <vt:lpstr>UNICLASS</vt:lpstr>
      <vt:lpstr>UNICLASS</vt:lpstr>
      <vt:lpstr>IFC Spatial/Physical</vt:lpstr>
      <vt:lpstr>Spatial/Physical Hierarchy: IFC</vt:lpstr>
      <vt:lpstr>PowerPoint Presentation</vt:lpstr>
      <vt:lpstr>BIS Mereology</vt:lpstr>
      <vt:lpstr>Spatial/Physical Hierarchy: BIS Current</vt:lpstr>
      <vt:lpstr>Spatial/Physical Hierarchy: BIS</vt:lpstr>
      <vt:lpstr>Spatial/Physical Hierarchy: BIS</vt:lpstr>
      <vt:lpstr>Spatial/Physical Hierarchy</vt:lpstr>
      <vt:lpstr>Physical Hierarchy Stereotypes</vt:lpstr>
      <vt:lpstr>PowerPoint Presentation</vt:lpstr>
      <vt:lpstr>Example - Spatial Modeling  (Web view)</vt:lpstr>
      <vt:lpstr>How to model a real-world Entity</vt:lpstr>
      <vt:lpstr>How to model a real-world Entity</vt:lpstr>
      <vt:lpstr>Early in the lifecycle</vt:lpstr>
      <vt:lpstr>Solution 1: Same Class, Different Type</vt:lpstr>
      <vt:lpstr>Solution 2: More-Specialized Class, Different Type</vt:lpstr>
      <vt:lpstr>Modeling Concep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sey Mullen</dc:creator>
  <cp:lastModifiedBy>Casey Mullen</cp:lastModifiedBy>
  <cp:revision>15</cp:revision>
  <dcterms:created xsi:type="dcterms:W3CDTF">2018-03-16T11:10:24Z</dcterms:created>
  <dcterms:modified xsi:type="dcterms:W3CDTF">2020-04-04T23:13:58Z</dcterms:modified>
</cp:coreProperties>
</file>